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8" r:id="rId5"/>
    <p:sldMasterId id="2147483673" r:id="rId6"/>
    <p:sldMasterId id="2147483696" r:id="rId7"/>
  </p:sldMasterIdLst>
  <p:notesMasterIdLst>
    <p:notesMasterId r:id="rId52"/>
  </p:notesMasterIdLst>
  <p:handoutMasterIdLst>
    <p:handoutMasterId r:id="rId53"/>
  </p:handoutMasterIdLst>
  <p:sldIdLst>
    <p:sldId id="276" r:id="rId8"/>
    <p:sldId id="303" r:id="rId9"/>
    <p:sldId id="277" r:id="rId10"/>
    <p:sldId id="305" r:id="rId11"/>
    <p:sldId id="334" r:id="rId12"/>
    <p:sldId id="333" r:id="rId13"/>
    <p:sldId id="332" r:id="rId14"/>
    <p:sldId id="343" r:id="rId15"/>
    <p:sldId id="344" r:id="rId16"/>
    <p:sldId id="336" r:id="rId17"/>
    <p:sldId id="337" r:id="rId18"/>
    <p:sldId id="340" r:id="rId19"/>
    <p:sldId id="342" r:id="rId20"/>
    <p:sldId id="341" r:id="rId21"/>
    <p:sldId id="338" r:id="rId22"/>
    <p:sldId id="304" r:id="rId23"/>
    <p:sldId id="345" r:id="rId24"/>
    <p:sldId id="346" r:id="rId25"/>
    <p:sldId id="348" r:id="rId26"/>
    <p:sldId id="347" r:id="rId27"/>
    <p:sldId id="349" r:id="rId28"/>
    <p:sldId id="351" r:id="rId29"/>
    <p:sldId id="350" r:id="rId30"/>
    <p:sldId id="306" r:id="rId31"/>
    <p:sldId id="307" r:id="rId32"/>
    <p:sldId id="308" r:id="rId33"/>
    <p:sldId id="309" r:id="rId34"/>
    <p:sldId id="310" r:id="rId35"/>
    <p:sldId id="312" r:id="rId36"/>
    <p:sldId id="315" r:id="rId37"/>
    <p:sldId id="317" r:id="rId38"/>
    <p:sldId id="319" r:id="rId39"/>
    <p:sldId id="320" r:id="rId40"/>
    <p:sldId id="321" r:id="rId41"/>
    <p:sldId id="322" r:id="rId42"/>
    <p:sldId id="323" r:id="rId43"/>
    <p:sldId id="324" r:id="rId44"/>
    <p:sldId id="326" r:id="rId45"/>
    <p:sldId id="327" r:id="rId46"/>
    <p:sldId id="328" r:id="rId47"/>
    <p:sldId id="331" r:id="rId48"/>
    <p:sldId id="329" r:id="rId49"/>
    <p:sldId id="301" r:id="rId50"/>
    <p:sldId id="258"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0A3D"/>
    <a:srgbClr val="12ABDB"/>
    <a:srgbClr val="0070AD"/>
    <a:srgbClr val="64A31E"/>
    <a:srgbClr val="6303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DA675D-C2B9-40D6-A2C8-A67752F5F42F}" v="38" dt="2023-06-15T09:53:15.2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872" autoAdjust="0"/>
    <p:restoredTop sz="93690" autoAdjust="0"/>
  </p:normalViewPr>
  <p:slideViewPr>
    <p:cSldViewPr snapToGrid="0">
      <p:cViewPr varScale="1">
        <p:scale>
          <a:sx n="62" d="100"/>
          <a:sy n="62" d="100"/>
        </p:scale>
        <p:origin x="216" y="52"/>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57" d="100"/>
          <a:sy n="57" d="100"/>
        </p:scale>
        <p:origin x="2832"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handoutMaster" Target="handoutMasters/handoutMaster1.xml"/><Relationship Id="rId58"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udhari, Rekha Prashant" userId="96ddbd71-f8cd-4c9c-a070-1de496c55735" providerId="ADAL" clId="{11DA675D-C2B9-40D6-A2C8-A67752F5F42F}"/>
    <pc:docChg chg="undo custSel addSld delSld modSld">
      <pc:chgData name="Chaudhari, Rekha Prashant" userId="96ddbd71-f8cd-4c9c-a070-1de496c55735" providerId="ADAL" clId="{11DA675D-C2B9-40D6-A2C8-A67752F5F42F}" dt="2023-06-15T10:08:17.866" v="563" actId="6549"/>
      <pc:docMkLst>
        <pc:docMk/>
      </pc:docMkLst>
      <pc:sldChg chg="modSp mod">
        <pc:chgData name="Chaudhari, Rekha Prashant" userId="96ddbd71-f8cd-4c9c-a070-1de496c55735" providerId="ADAL" clId="{11DA675D-C2B9-40D6-A2C8-A67752F5F42F}" dt="2023-06-15T10:08:17.866" v="563" actId="6549"/>
        <pc:sldMkLst>
          <pc:docMk/>
          <pc:sldMk cId="3016750320" sldId="306"/>
        </pc:sldMkLst>
        <pc:spChg chg="mod">
          <ac:chgData name="Chaudhari, Rekha Prashant" userId="96ddbd71-f8cd-4c9c-a070-1de496c55735" providerId="ADAL" clId="{11DA675D-C2B9-40D6-A2C8-A67752F5F42F}" dt="2023-06-15T10:08:17.866" v="563" actId="6549"/>
          <ac:spMkLst>
            <pc:docMk/>
            <pc:sldMk cId="3016750320" sldId="306"/>
            <ac:spMk id="3" creationId="{00000000-0000-0000-0000-000000000000}"/>
          </ac:spMkLst>
        </pc:spChg>
      </pc:sldChg>
      <pc:sldChg chg="del">
        <pc:chgData name="Chaudhari, Rekha Prashant" userId="96ddbd71-f8cd-4c9c-a070-1de496c55735" providerId="ADAL" clId="{11DA675D-C2B9-40D6-A2C8-A67752F5F42F}" dt="2023-06-15T10:06:51.072" v="555" actId="2696"/>
        <pc:sldMkLst>
          <pc:docMk/>
          <pc:sldMk cId="714684445" sldId="316"/>
        </pc:sldMkLst>
      </pc:sldChg>
      <pc:sldChg chg="del">
        <pc:chgData name="Chaudhari, Rekha Prashant" userId="96ddbd71-f8cd-4c9c-a070-1de496c55735" providerId="ADAL" clId="{11DA675D-C2B9-40D6-A2C8-A67752F5F42F}" dt="2023-06-15T10:05:49.886" v="554" actId="2696"/>
        <pc:sldMkLst>
          <pc:docMk/>
          <pc:sldMk cId="455216266" sldId="330"/>
        </pc:sldMkLst>
      </pc:sldChg>
      <pc:sldChg chg="addSp delSp modSp mod">
        <pc:chgData name="Chaudhari, Rekha Prashant" userId="96ddbd71-f8cd-4c9c-a070-1de496c55735" providerId="ADAL" clId="{11DA675D-C2B9-40D6-A2C8-A67752F5F42F}" dt="2023-06-15T01:42:44.424" v="203" actId="20577"/>
        <pc:sldMkLst>
          <pc:docMk/>
          <pc:sldMk cId="3096751228" sldId="332"/>
        </pc:sldMkLst>
        <pc:spChg chg="mod">
          <ac:chgData name="Chaudhari, Rekha Prashant" userId="96ddbd71-f8cd-4c9c-a070-1de496c55735" providerId="ADAL" clId="{11DA675D-C2B9-40D6-A2C8-A67752F5F42F}" dt="2023-06-15T01:42:44.424" v="203" actId="20577"/>
          <ac:spMkLst>
            <pc:docMk/>
            <pc:sldMk cId="3096751228" sldId="332"/>
            <ac:spMk id="2" creationId="{2EC43AC6-7C18-4B2C-8230-6F3245C104C0}"/>
          </ac:spMkLst>
        </pc:spChg>
        <pc:spChg chg="add del mod">
          <ac:chgData name="Chaudhari, Rekha Prashant" userId="96ddbd71-f8cd-4c9c-a070-1de496c55735" providerId="ADAL" clId="{11DA675D-C2B9-40D6-A2C8-A67752F5F42F}" dt="2023-06-15T01:29:05.523" v="89"/>
          <ac:spMkLst>
            <pc:docMk/>
            <pc:sldMk cId="3096751228" sldId="332"/>
            <ac:spMk id="4" creationId="{00000000-0000-0000-0000-000000000000}"/>
          </ac:spMkLst>
        </pc:spChg>
        <pc:picChg chg="del mod">
          <ac:chgData name="Chaudhari, Rekha Prashant" userId="96ddbd71-f8cd-4c9c-a070-1de496c55735" providerId="ADAL" clId="{11DA675D-C2B9-40D6-A2C8-A67752F5F42F}" dt="2023-06-15T01:27:55.523" v="86" actId="478"/>
          <ac:picMkLst>
            <pc:docMk/>
            <pc:sldMk cId="3096751228" sldId="332"/>
            <ac:picMk id="3" creationId="{00000000-0000-0000-0000-000000000000}"/>
          </ac:picMkLst>
        </pc:picChg>
        <pc:picChg chg="add mod">
          <ac:chgData name="Chaudhari, Rekha Prashant" userId="96ddbd71-f8cd-4c9c-a070-1de496c55735" providerId="ADAL" clId="{11DA675D-C2B9-40D6-A2C8-A67752F5F42F}" dt="2023-06-15T01:29:11.096" v="90" actId="1076"/>
          <ac:picMkLst>
            <pc:docMk/>
            <pc:sldMk cId="3096751228" sldId="332"/>
            <ac:picMk id="1026" creationId="{71766BF5-5BC3-1D74-F1E4-9D4517553A75}"/>
          </ac:picMkLst>
        </pc:picChg>
      </pc:sldChg>
      <pc:sldChg chg="addSp delSp modSp add mod">
        <pc:chgData name="Chaudhari, Rekha Prashant" userId="96ddbd71-f8cd-4c9c-a070-1de496c55735" providerId="ADAL" clId="{11DA675D-C2B9-40D6-A2C8-A67752F5F42F}" dt="2023-06-15T05:16:47.963" v="324" actId="20577"/>
        <pc:sldMkLst>
          <pc:docMk/>
          <pc:sldMk cId="3694270471" sldId="333"/>
        </pc:sldMkLst>
        <pc:spChg chg="mod">
          <ac:chgData name="Chaudhari, Rekha Prashant" userId="96ddbd71-f8cd-4c9c-a070-1de496c55735" providerId="ADAL" clId="{11DA675D-C2B9-40D6-A2C8-A67752F5F42F}" dt="2023-06-15T01:12:17.070" v="60" actId="20577"/>
          <ac:spMkLst>
            <pc:docMk/>
            <pc:sldMk cId="3694270471" sldId="333"/>
            <ac:spMk id="2" creationId="{2EC43AC6-7C18-4B2C-8230-6F3245C104C0}"/>
          </ac:spMkLst>
        </pc:spChg>
        <pc:spChg chg="mod">
          <ac:chgData name="Chaudhari, Rekha Prashant" userId="96ddbd71-f8cd-4c9c-a070-1de496c55735" providerId="ADAL" clId="{11DA675D-C2B9-40D6-A2C8-A67752F5F42F}" dt="2023-06-15T05:16:47.963" v="324" actId="20577"/>
          <ac:spMkLst>
            <pc:docMk/>
            <pc:sldMk cId="3694270471" sldId="333"/>
            <ac:spMk id="4" creationId="{00000000-0000-0000-0000-000000000000}"/>
          </ac:spMkLst>
        </pc:spChg>
        <pc:picChg chg="del mod">
          <ac:chgData name="Chaudhari, Rekha Prashant" userId="96ddbd71-f8cd-4c9c-a070-1de496c55735" providerId="ADAL" clId="{11DA675D-C2B9-40D6-A2C8-A67752F5F42F}" dt="2023-06-15T01:11:19.971" v="7" actId="21"/>
          <ac:picMkLst>
            <pc:docMk/>
            <pc:sldMk cId="3694270471" sldId="333"/>
            <ac:picMk id="3" creationId="{00000000-0000-0000-0000-000000000000}"/>
          </ac:picMkLst>
        </pc:picChg>
        <pc:picChg chg="add del mod">
          <ac:chgData name="Chaudhari, Rekha Prashant" userId="96ddbd71-f8cd-4c9c-a070-1de496c55735" providerId="ADAL" clId="{11DA675D-C2B9-40D6-A2C8-A67752F5F42F}" dt="2023-06-15T01:11:29.402" v="9"/>
          <ac:picMkLst>
            <pc:docMk/>
            <pc:sldMk cId="3694270471" sldId="333"/>
            <ac:picMk id="5" creationId="{23C7F11C-50DB-95E7-911D-2BB71D7F9D0D}"/>
          </ac:picMkLst>
        </pc:picChg>
      </pc:sldChg>
      <pc:sldChg chg="modSp add mod">
        <pc:chgData name="Chaudhari, Rekha Prashant" userId="96ddbd71-f8cd-4c9c-a070-1de496c55735" providerId="ADAL" clId="{11DA675D-C2B9-40D6-A2C8-A67752F5F42F}" dt="2023-06-15T01:16:20.366" v="75" actId="255"/>
        <pc:sldMkLst>
          <pc:docMk/>
          <pc:sldMk cId="1378111090" sldId="334"/>
        </pc:sldMkLst>
        <pc:spChg chg="mod">
          <ac:chgData name="Chaudhari, Rekha Prashant" userId="96ddbd71-f8cd-4c9c-a070-1de496c55735" providerId="ADAL" clId="{11DA675D-C2B9-40D6-A2C8-A67752F5F42F}" dt="2023-06-15T01:16:20.366" v="75" actId="255"/>
          <ac:spMkLst>
            <pc:docMk/>
            <pc:sldMk cId="1378111090" sldId="334"/>
            <ac:spMk id="4" creationId="{00000000-0000-0000-0000-000000000000}"/>
          </ac:spMkLst>
        </pc:spChg>
      </pc:sldChg>
      <pc:sldChg chg="new del">
        <pc:chgData name="Chaudhari, Rekha Prashant" userId="96ddbd71-f8cd-4c9c-a070-1de496c55735" providerId="ADAL" clId="{11DA675D-C2B9-40D6-A2C8-A67752F5F42F}" dt="2023-06-15T01:39:25.783" v="145" actId="47"/>
        <pc:sldMkLst>
          <pc:docMk/>
          <pc:sldMk cId="3112545851" sldId="335"/>
        </pc:sldMkLst>
      </pc:sldChg>
      <pc:sldChg chg="delSp modSp add mod">
        <pc:chgData name="Chaudhari, Rekha Prashant" userId="96ddbd71-f8cd-4c9c-a070-1de496c55735" providerId="ADAL" clId="{11DA675D-C2B9-40D6-A2C8-A67752F5F42F}" dt="2023-06-15T01:43:00.102" v="204" actId="1076"/>
        <pc:sldMkLst>
          <pc:docMk/>
          <pc:sldMk cId="980356175" sldId="336"/>
        </pc:sldMkLst>
        <pc:spChg chg="mod">
          <ac:chgData name="Chaudhari, Rekha Prashant" userId="96ddbd71-f8cd-4c9c-a070-1de496c55735" providerId="ADAL" clId="{11DA675D-C2B9-40D6-A2C8-A67752F5F42F}" dt="2023-06-15T01:43:00.102" v="204" actId="1076"/>
          <ac:spMkLst>
            <pc:docMk/>
            <pc:sldMk cId="980356175" sldId="336"/>
            <ac:spMk id="2" creationId="{2EC43AC6-7C18-4B2C-8230-6F3245C104C0}"/>
          </ac:spMkLst>
        </pc:spChg>
        <pc:spChg chg="mod">
          <ac:chgData name="Chaudhari, Rekha Prashant" userId="96ddbd71-f8cd-4c9c-a070-1de496c55735" providerId="ADAL" clId="{11DA675D-C2B9-40D6-A2C8-A67752F5F42F}" dt="2023-06-15T01:31:29.718" v="94"/>
          <ac:spMkLst>
            <pc:docMk/>
            <pc:sldMk cId="980356175" sldId="336"/>
            <ac:spMk id="4" creationId="{00000000-0000-0000-0000-000000000000}"/>
          </ac:spMkLst>
        </pc:spChg>
        <pc:picChg chg="del mod">
          <ac:chgData name="Chaudhari, Rekha Prashant" userId="96ddbd71-f8cd-4c9c-a070-1de496c55735" providerId="ADAL" clId="{11DA675D-C2B9-40D6-A2C8-A67752F5F42F}" dt="2023-06-15T01:31:54.884" v="96" actId="478"/>
          <ac:picMkLst>
            <pc:docMk/>
            <pc:sldMk cId="980356175" sldId="336"/>
            <ac:picMk id="3" creationId="{00000000-0000-0000-0000-000000000000}"/>
          </ac:picMkLst>
        </pc:picChg>
      </pc:sldChg>
      <pc:sldChg chg="delSp modSp add mod">
        <pc:chgData name="Chaudhari, Rekha Prashant" userId="96ddbd71-f8cd-4c9c-a070-1de496c55735" providerId="ADAL" clId="{11DA675D-C2B9-40D6-A2C8-A67752F5F42F}" dt="2023-06-15T01:34:37.651" v="132" actId="20577"/>
        <pc:sldMkLst>
          <pc:docMk/>
          <pc:sldMk cId="1855015780" sldId="337"/>
        </pc:sldMkLst>
        <pc:spChg chg="mod">
          <ac:chgData name="Chaudhari, Rekha Prashant" userId="96ddbd71-f8cd-4c9c-a070-1de496c55735" providerId="ADAL" clId="{11DA675D-C2B9-40D6-A2C8-A67752F5F42F}" dt="2023-06-15T01:32:33.733" v="97"/>
          <ac:spMkLst>
            <pc:docMk/>
            <pc:sldMk cId="1855015780" sldId="337"/>
            <ac:spMk id="2" creationId="{2EC43AC6-7C18-4B2C-8230-6F3245C104C0}"/>
          </ac:spMkLst>
        </pc:spChg>
        <pc:spChg chg="mod">
          <ac:chgData name="Chaudhari, Rekha Prashant" userId="96ddbd71-f8cd-4c9c-a070-1de496c55735" providerId="ADAL" clId="{11DA675D-C2B9-40D6-A2C8-A67752F5F42F}" dt="2023-06-15T01:34:37.651" v="132" actId="20577"/>
          <ac:spMkLst>
            <pc:docMk/>
            <pc:sldMk cId="1855015780" sldId="337"/>
            <ac:spMk id="4" creationId="{00000000-0000-0000-0000-000000000000}"/>
          </ac:spMkLst>
        </pc:spChg>
        <pc:picChg chg="del">
          <ac:chgData name="Chaudhari, Rekha Prashant" userId="96ddbd71-f8cd-4c9c-a070-1de496c55735" providerId="ADAL" clId="{11DA675D-C2B9-40D6-A2C8-A67752F5F42F}" dt="2023-06-15T01:32:51.063" v="99" actId="478"/>
          <ac:picMkLst>
            <pc:docMk/>
            <pc:sldMk cId="1855015780" sldId="337"/>
            <ac:picMk id="3" creationId="{00000000-0000-0000-0000-000000000000}"/>
          </ac:picMkLst>
        </pc:picChg>
      </pc:sldChg>
      <pc:sldChg chg="delSp modSp add mod">
        <pc:chgData name="Chaudhari, Rekha Prashant" userId="96ddbd71-f8cd-4c9c-a070-1de496c55735" providerId="ADAL" clId="{11DA675D-C2B9-40D6-A2C8-A67752F5F42F}" dt="2023-06-15T01:48:58.033" v="219"/>
        <pc:sldMkLst>
          <pc:docMk/>
          <pc:sldMk cId="2265041438" sldId="338"/>
        </pc:sldMkLst>
        <pc:spChg chg="mod">
          <ac:chgData name="Chaudhari, Rekha Prashant" userId="96ddbd71-f8cd-4c9c-a070-1de496c55735" providerId="ADAL" clId="{11DA675D-C2B9-40D6-A2C8-A67752F5F42F}" dt="2023-06-15T01:48:58.033" v="219"/>
          <ac:spMkLst>
            <pc:docMk/>
            <pc:sldMk cId="2265041438" sldId="338"/>
            <ac:spMk id="2" creationId="{2EC43AC6-7C18-4B2C-8230-6F3245C104C0}"/>
          </ac:spMkLst>
        </pc:spChg>
        <pc:spChg chg="mod">
          <ac:chgData name="Chaudhari, Rekha Prashant" userId="96ddbd71-f8cd-4c9c-a070-1de496c55735" providerId="ADAL" clId="{11DA675D-C2B9-40D6-A2C8-A67752F5F42F}" dt="2023-06-15T01:48:39.465" v="218" actId="20577"/>
          <ac:spMkLst>
            <pc:docMk/>
            <pc:sldMk cId="2265041438" sldId="338"/>
            <ac:spMk id="4" creationId="{00000000-0000-0000-0000-000000000000}"/>
          </ac:spMkLst>
        </pc:spChg>
        <pc:picChg chg="del mod">
          <ac:chgData name="Chaudhari, Rekha Prashant" userId="96ddbd71-f8cd-4c9c-a070-1de496c55735" providerId="ADAL" clId="{11DA675D-C2B9-40D6-A2C8-A67752F5F42F}" dt="2023-06-15T01:48:09.170" v="214" actId="478"/>
          <ac:picMkLst>
            <pc:docMk/>
            <pc:sldMk cId="2265041438" sldId="338"/>
            <ac:picMk id="3" creationId="{00000000-0000-0000-0000-000000000000}"/>
          </ac:picMkLst>
        </pc:picChg>
      </pc:sldChg>
      <pc:sldChg chg="add del">
        <pc:chgData name="Chaudhari, Rekha Prashant" userId="96ddbd71-f8cd-4c9c-a070-1de496c55735" providerId="ADAL" clId="{11DA675D-C2B9-40D6-A2C8-A67752F5F42F}" dt="2023-06-15T01:39:15.974" v="143" actId="2696"/>
        <pc:sldMkLst>
          <pc:docMk/>
          <pc:sldMk cId="2969542249" sldId="338"/>
        </pc:sldMkLst>
      </pc:sldChg>
      <pc:sldChg chg="delSp add del mod">
        <pc:chgData name="Chaudhari, Rekha Prashant" userId="96ddbd71-f8cd-4c9c-a070-1de496c55735" providerId="ADAL" clId="{11DA675D-C2B9-40D6-A2C8-A67752F5F42F}" dt="2023-06-15T01:43:27.036" v="205" actId="2696"/>
        <pc:sldMkLst>
          <pc:docMk/>
          <pc:sldMk cId="2541553326" sldId="339"/>
        </pc:sldMkLst>
        <pc:picChg chg="del">
          <ac:chgData name="Chaudhari, Rekha Prashant" userId="96ddbd71-f8cd-4c9c-a070-1de496c55735" providerId="ADAL" clId="{11DA675D-C2B9-40D6-A2C8-A67752F5F42F}" dt="2023-06-15T01:35:04.734" v="134" actId="478"/>
          <ac:picMkLst>
            <pc:docMk/>
            <pc:sldMk cId="2541553326" sldId="339"/>
            <ac:picMk id="3" creationId="{00000000-0000-0000-0000-000000000000}"/>
          </ac:picMkLst>
        </pc:picChg>
      </pc:sldChg>
      <pc:sldChg chg="addSp delSp modSp add mod">
        <pc:chgData name="Chaudhari, Rekha Prashant" userId="96ddbd71-f8cd-4c9c-a070-1de496c55735" providerId="ADAL" clId="{11DA675D-C2B9-40D6-A2C8-A67752F5F42F}" dt="2023-06-15T01:59:05.218" v="261" actId="2711"/>
        <pc:sldMkLst>
          <pc:docMk/>
          <pc:sldMk cId="3100230958" sldId="340"/>
        </pc:sldMkLst>
        <pc:spChg chg="mod">
          <ac:chgData name="Chaudhari, Rekha Prashant" userId="96ddbd71-f8cd-4c9c-a070-1de496c55735" providerId="ADAL" clId="{11DA675D-C2B9-40D6-A2C8-A67752F5F42F}" dt="2023-06-15T01:56:22.875" v="235" actId="20577"/>
          <ac:spMkLst>
            <pc:docMk/>
            <pc:sldMk cId="3100230958" sldId="340"/>
            <ac:spMk id="2" creationId="{2EC43AC6-7C18-4B2C-8230-6F3245C104C0}"/>
          </ac:spMkLst>
        </pc:spChg>
        <pc:spChg chg="mod">
          <ac:chgData name="Chaudhari, Rekha Prashant" userId="96ddbd71-f8cd-4c9c-a070-1de496c55735" providerId="ADAL" clId="{11DA675D-C2B9-40D6-A2C8-A67752F5F42F}" dt="2023-06-15T01:59:05.218" v="261" actId="2711"/>
          <ac:spMkLst>
            <pc:docMk/>
            <pc:sldMk cId="3100230958" sldId="340"/>
            <ac:spMk id="4" creationId="{00000000-0000-0000-0000-000000000000}"/>
          </ac:spMkLst>
        </pc:spChg>
        <pc:picChg chg="del">
          <ac:chgData name="Chaudhari, Rekha Prashant" userId="96ddbd71-f8cd-4c9c-a070-1de496c55735" providerId="ADAL" clId="{11DA675D-C2B9-40D6-A2C8-A67752F5F42F}" dt="2023-06-15T01:35:28.180" v="137" actId="478"/>
          <ac:picMkLst>
            <pc:docMk/>
            <pc:sldMk cId="3100230958" sldId="340"/>
            <ac:picMk id="3" creationId="{00000000-0000-0000-0000-000000000000}"/>
          </ac:picMkLst>
        </pc:picChg>
        <pc:picChg chg="add del">
          <ac:chgData name="Chaudhari, Rekha Prashant" userId="96ddbd71-f8cd-4c9c-a070-1de496c55735" providerId="ADAL" clId="{11DA675D-C2B9-40D6-A2C8-A67752F5F42F}" dt="2023-06-15T01:35:28.180" v="137" actId="478"/>
          <ac:picMkLst>
            <pc:docMk/>
            <pc:sldMk cId="3100230958" sldId="340"/>
            <ac:picMk id="2050" creationId="{95766637-54B7-0707-83EE-019761A756DA}"/>
          </ac:picMkLst>
        </pc:picChg>
        <pc:picChg chg="add del mod">
          <ac:chgData name="Chaudhari, Rekha Prashant" userId="96ddbd71-f8cd-4c9c-a070-1de496c55735" providerId="ADAL" clId="{11DA675D-C2B9-40D6-A2C8-A67752F5F42F}" dt="2023-06-15T01:56:47.200" v="237" actId="478"/>
          <ac:picMkLst>
            <pc:docMk/>
            <pc:sldMk cId="3100230958" sldId="340"/>
            <ac:picMk id="2052" creationId="{7DB39D7E-AC1E-2A82-9BF7-23B77858CF25}"/>
          </ac:picMkLst>
        </pc:picChg>
      </pc:sldChg>
      <pc:sldChg chg="addSp delSp modSp add mod">
        <pc:chgData name="Chaudhari, Rekha Prashant" userId="96ddbd71-f8cd-4c9c-a070-1de496c55735" providerId="ADAL" clId="{11DA675D-C2B9-40D6-A2C8-A67752F5F42F}" dt="2023-06-15T01:44:45.437" v="211" actId="1076"/>
        <pc:sldMkLst>
          <pc:docMk/>
          <pc:sldMk cId="282855337" sldId="341"/>
        </pc:sldMkLst>
        <pc:spChg chg="mod">
          <ac:chgData name="Chaudhari, Rekha Prashant" userId="96ddbd71-f8cd-4c9c-a070-1de496c55735" providerId="ADAL" clId="{11DA675D-C2B9-40D6-A2C8-A67752F5F42F}" dt="2023-06-15T01:44:03.016" v="206"/>
          <ac:spMkLst>
            <pc:docMk/>
            <pc:sldMk cId="282855337" sldId="341"/>
            <ac:spMk id="2" creationId="{2EC43AC6-7C18-4B2C-8230-6F3245C104C0}"/>
          </ac:spMkLst>
        </pc:spChg>
        <pc:spChg chg="mod">
          <ac:chgData name="Chaudhari, Rekha Prashant" userId="96ddbd71-f8cd-4c9c-a070-1de496c55735" providerId="ADAL" clId="{11DA675D-C2B9-40D6-A2C8-A67752F5F42F}" dt="2023-06-15T01:44:17.940" v="207"/>
          <ac:spMkLst>
            <pc:docMk/>
            <pc:sldMk cId="282855337" sldId="341"/>
            <ac:spMk id="4" creationId="{00000000-0000-0000-0000-000000000000}"/>
          </ac:spMkLst>
        </pc:spChg>
        <pc:picChg chg="del mod">
          <ac:chgData name="Chaudhari, Rekha Prashant" userId="96ddbd71-f8cd-4c9c-a070-1de496c55735" providerId="ADAL" clId="{11DA675D-C2B9-40D6-A2C8-A67752F5F42F}" dt="2023-06-15T01:44:36.972" v="209" actId="478"/>
          <ac:picMkLst>
            <pc:docMk/>
            <pc:sldMk cId="282855337" sldId="341"/>
            <ac:picMk id="2052" creationId="{7DB39D7E-AC1E-2A82-9BF7-23B77858CF25}"/>
          </ac:picMkLst>
        </pc:picChg>
        <pc:picChg chg="add mod">
          <ac:chgData name="Chaudhari, Rekha Prashant" userId="96ddbd71-f8cd-4c9c-a070-1de496c55735" providerId="ADAL" clId="{11DA675D-C2B9-40D6-A2C8-A67752F5F42F}" dt="2023-06-15T01:44:45.437" v="211" actId="1076"/>
          <ac:picMkLst>
            <pc:docMk/>
            <pc:sldMk cId="282855337" sldId="341"/>
            <ac:picMk id="3074" creationId="{515A5F48-E208-2201-4D1B-A7EEC2AFEA0C}"/>
          </ac:picMkLst>
        </pc:picChg>
      </pc:sldChg>
      <pc:sldChg chg="modSp add mod">
        <pc:chgData name="Chaudhari, Rekha Prashant" userId="96ddbd71-f8cd-4c9c-a070-1de496c55735" providerId="ADAL" clId="{11DA675D-C2B9-40D6-A2C8-A67752F5F42F}" dt="2023-06-15T05:51:14.194" v="357" actId="20577"/>
        <pc:sldMkLst>
          <pc:docMk/>
          <pc:sldMk cId="4032712696" sldId="342"/>
        </pc:sldMkLst>
        <pc:spChg chg="mod">
          <ac:chgData name="Chaudhari, Rekha Prashant" userId="96ddbd71-f8cd-4c9c-a070-1de496c55735" providerId="ADAL" clId="{11DA675D-C2B9-40D6-A2C8-A67752F5F42F}" dt="2023-06-15T05:51:14.194" v="357" actId="20577"/>
          <ac:spMkLst>
            <pc:docMk/>
            <pc:sldMk cId="4032712696" sldId="342"/>
            <ac:spMk id="2" creationId="{2EC43AC6-7C18-4B2C-8230-6F3245C104C0}"/>
          </ac:spMkLst>
        </pc:spChg>
      </pc:sldChg>
      <pc:sldChg chg="delSp modSp add mod">
        <pc:chgData name="Chaudhari, Rekha Prashant" userId="96ddbd71-f8cd-4c9c-a070-1de496c55735" providerId="ADAL" clId="{11DA675D-C2B9-40D6-A2C8-A67752F5F42F}" dt="2023-06-15T02:19:49.306" v="295" actId="6549"/>
        <pc:sldMkLst>
          <pc:docMk/>
          <pc:sldMk cId="2881269799" sldId="343"/>
        </pc:sldMkLst>
        <pc:spChg chg="mod">
          <ac:chgData name="Chaudhari, Rekha Prashant" userId="96ddbd71-f8cd-4c9c-a070-1de496c55735" providerId="ADAL" clId="{11DA675D-C2B9-40D6-A2C8-A67752F5F42F}" dt="2023-06-15T02:10:38.998" v="270" actId="20577"/>
          <ac:spMkLst>
            <pc:docMk/>
            <pc:sldMk cId="2881269799" sldId="343"/>
            <ac:spMk id="2" creationId="{2EC43AC6-7C18-4B2C-8230-6F3245C104C0}"/>
          </ac:spMkLst>
        </pc:spChg>
        <pc:spChg chg="mod">
          <ac:chgData name="Chaudhari, Rekha Prashant" userId="96ddbd71-f8cd-4c9c-a070-1de496c55735" providerId="ADAL" clId="{11DA675D-C2B9-40D6-A2C8-A67752F5F42F}" dt="2023-06-15T02:19:49.306" v="295" actId="6549"/>
          <ac:spMkLst>
            <pc:docMk/>
            <pc:sldMk cId="2881269799" sldId="343"/>
            <ac:spMk id="4" creationId="{00000000-0000-0000-0000-000000000000}"/>
          </ac:spMkLst>
        </pc:spChg>
        <pc:picChg chg="del">
          <ac:chgData name="Chaudhari, Rekha Prashant" userId="96ddbd71-f8cd-4c9c-a070-1de496c55735" providerId="ADAL" clId="{11DA675D-C2B9-40D6-A2C8-A67752F5F42F}" dt="2023-06-15T02:15:14.476" v="272" actId="478"/>
          <ac:picMkLst>
            <pc:docMk/>
            <pc:sldMk cId="2881269799" sldId="343"/>
            <ac:picMk id="1026" creationId="{71766BF5-5BC3-1D74-F1E4-9D4517553A75}"/>
          </ac:picMkLst>
        </pc:picChg>
      </pc:sldChg>
      <pc:sldChg chg="modSp add mod">
        <pc:chgData name="Chaudhari, Rekha Prashant" userId="96ddbd71-f8cd-4c9c-a070-1de496c55735" providerId="ADAL" clId="{11DA675D-C2B9-40D6-A2C8-A67752F5F42F}" dt="2023-06-15T02:22:39.414" v="323" actId="6549"/>
        <pc:sldMkLst>
          <pc:docMk/>
          <pc:sldMk cId="3281504653" sldId="344"/>
        </pc:sldMkLst>
        <pc:spChg chg="mod">
          <ac:chgData name="Chaudhari, Rekha Prashant" userId="96ddbd71-f8cd-4c9c-a070-1de496c55735" providerId="ADAL" clId="{11DA675D-C2B9-40D6-A2C8-A67752F5F42F}" dt="2023-06-15T02:22:39.414" v="323" actId="6549"/>
          <ac:spMkLst>
            <pc:docMk/>
            <pc:sldMk cId="3281504653" sldId="344"/>
            <ac:spMk id="4" creationId="{00000000-0000-0000-0000-000000000000}"/>
          </ac:spMkLst>
        </pc:spChg>
      </pc:sldChg>
      <pc:sldChg chg="modSp add mod">
        <pc:chgData name="Chaudhari, Rekha Prashant" userId="96ddbd71-f8cd-4c9c-a070-1de496c55735" providerId="ADAL" clId="{11DA675D-C2B9-40D6-A2C8-A67752F5F42F}" dt="2023-06-15T06:30:33.721" v="377" actId="255"/>
        <pc:sldMkLst>
          <pc:docMk/>
          <pc:sldMk cId="1460266019" sldId="345"/>
        </pc:sldMkLst>
        <pc:spChg chg="mod">
          <ac:chgData name="Chaudhari, Rekha Prashant" userId="96ddbd71-f8cd-4c9c-a070-1de496c55735" providerId="ADAL" clId="{11DA675D-C2B9-40D6-A2C8-A67752F5F42F}" dt="2023-06-15T06:30:12.865" v="374" actId="20577"/>
          <ac:spMkLst>
            <pc:docMk/>
            <pc:sldMk cId="1460266019" sldId="345"/>
            <ac:spMk id="2" creationId="{2EC43AC6-7C18-4B2C-8230-6F3245C104C0}"/>
          </ac:spMkLst>
        </pc:spChg>
        <pc:spChg chg="mod">
          <ac:chgData name="Chaudhari, Rekha Prashant" userId="96ddbd71-f8cd-4c9c-a070-1de496c55735" providerId="ADAL" clId="{11DA675D-C2B9-40D6-A2C8-A67752F5F42F}" dt="2023-06-15T06:30:33.721" v="377" actId="255"/>
          <ac:spMkLst>
            <pc:docMk/>
            <pc:sldMk cId="1460266019" sldId="345"/>
            <ac:spMk id="4" creationId="{00000000-0000-0000-0000-000000000000}"/>
          </ac:spMkLst>
        </pc:spChg>
      </pc:sldChg>
      <pc:sldChg chg="modSp add mod">
        <pc:chgData name="Chaudhari, Rekha Prashant" userId="96ddbd71-f8cd-4c9c-a070-1de496c55735" providerId="ADAL" clId="{11DA675D-C2B9-40D6-A2C8-A67752F5F42F}" dt="2023-06-15T06:40:11.288" v="455" actId="255"/>
        <pc:sldMkLst>
          <pc:docMk/>
          <pc:sldMk cId="3963683517" sldId="346"/>
        </pc:sldMkLst>
        <pc:spChg chg="mod">
          <ac:chgData name="Chaudhari, Rekha Prashant" userId="96ddbd71-f8cd-4c9c-a070-1de496c55735" providerId="ADAL" clId="{11DA675D-C2B9-40D6-A2C8-A67752F5F42F}" dt="2023-06-15T06:33:20.844" v="394" actId="20577"/>
          <ac:spMkLst>
            <pc:docMk/>
            <pc:sldMk cId="3963683517" sldId="346"/>
            <ac:spMk id="2" creationId="{2EC43AC6-7C18-4B2C-8230-6F3245C104C0}"/>
          </ac:spMkLst>
        </pc:spChg>
        <pc:spChg chg="mod">
          <ac:chgData name="Chaudhari, Rekha Prashant" userId="96ddbd71-f8cd-4c9c-a070-1de496c55735" providerId="ADAL" clId="{11DA675D-C2B9-40D6-A2C8-A67752F5F42F}" dt="2023-06-15T06:40:11.288" v="455" actId="255"/>
          <ac:spMkLst>
            <pc:docMk/>
            <pc:sldMk cId="3963683517" sldId="346"/>
            <ac:spMk id="4" creationId="{00000000-0000-0000-0000-000000000000}"/>
          </ac:spMkLst>
        </pc:spChg>
      </pc:sldChg>
      <pc:sldChg chg="modSp add mod">
        <pc:chgData name="Chaudhari, Rekha Prashant" userId="96ddbd71-f8cd-4c9c-a070-1de496c55735" providerId="ADAL" clId="{11DA675D-C2B9-40D6-A2C8-A67752F5F42F}" dt="2023-06-15T06:39:21.912" v="454" actId="20577"/>
        <pc:sldMkLst>
          <pc:docMk/>
          <pc:sldMk cId="1939347945" sldId="347"/>
        </pc:sldMkLst>
        <pc:spChg chg="mod">
          <ac:chgData name="Chaudhari, Rekha Prashant" userId="96ddbd71-f8cd-4c9c-a070-1de496c55735" providerId="ADAL" clId="{11DA675D-C2B9-40D6-A2C8-A67752F5F42F}" dt="2023-06-15T06:39:21.912" v="454" actId="20577"/>
          <ac:spMkLst>
            <pc:docMk/>
            <pc:sldMk cId="1939347945" sldId="347"/>
            <ac:spMk id="2" creationId="{2EC43AC6-7C18-4B2C-8230-6F3245C104C0}"/>
          </ac:spMkLst>
        </pc:spChg>
        <pc:spChg chg="mod">
          <ac:chgData name="Chaudhari, Rekha Prashant" userId="96ddbd71-f8cd-4c9c-a070-1de496c55735" providerId="ADAL" clId="{11DA675D-C2B9-40D6-A2C8-A67752F5F42F}" dt="2023-06-15T06:39:11.871" v="452" actId="1076"/>
          <ac:spMkLst>
            <pc:docMk/>
            <pc:sldMk cId="1939347945" sldId="347"/>
            <ac:spMk id="4" creationId="{00000000-0000-0000-0000-000000000000}"/>
          </ac:spMkLst>
        </pc:spChg>
      </pc:sldChg>
      <pc:sldChg chg="add">
        <pc:chgData name="Chaudhari, Rekha Prashant" userId="96ddbd71-f8cd-4c9c-a070-1de496c55735" providerId="ADAL" clId="{11DA675D-C2B9-40D6-A2C8-A67752F5F42F}" dt="2023-06-15T06:32:15.810" v="384"/>
        <pc:sldMkLst>
          <pc:docMk/>
          <pc:sldMk cId="2164881980" sldId="348"/>
        </pc:sldMkLst>
      </pc:sldChg>
      <pc:sldChg chg="addSp modSp add mod">
        <pc:chgData name="Chaudhari, Rekha Prashant" userId="96ddbd71-f8cd-4c9c-a070-1de496c55735" providerId="ADAL" clId="{11DA675D-C2B9-40D6-A2C8-A67752F5F42F}" dt="2023-06-15T09:53:15.228" v="488" actId="1076"/>
        <pc:sldMkLst>
          <pc:docMk/>
          <pc:sldMk cId="3221201768" sldId="349"/>
        </pc:sldMkLst>
        <pc:spChg chg="mod">
          <ac:chgData name="Chaudhari, Rekha Prashant" userId="96ddbd71-f8cd-4c9c-a070-1de496c55735" providerId="ADAL" clId="{11DA675D-C2B9-40D6-A2C8-A67752F5F42F}" dt="2023-06-15T09:51:24.551" v="472"/>
          <ac:spMkLst>
            <pc:docMk/>
            <pc:sldMk cId="3221201768" sldId="349"/>
            <ac:spMk id="2" creationId="{2EC43AC6-7C18-4B2C-8230-6F3245C104C0}"/>
          </ac:spMkLst>
        </pc:spChg>
        <pc:spChg chg="mod">
          <ac:chgData name="Chaudhari, Rekha Prashant" userId="96ddbd71-f8cd-4c9c-a070-1de496c55735" providerId="ADAL" clId="{11DA675D-C2B9-40D6-A2C8-A67752F5F42F}" dt="2023-06-15T09:53:05.532" v="486" actId="6549"/>
          <ac:spMkLst>
            <pc:docMk/>
            <pc:sldMk cId="3221201768" sldId="349"/>
            <ac:spMk id="4" creationId="{00000000-0000-0000-0000-000000000000}"/>
          </ac:spMkLst>
        </pc:spChg>
        <pc:picChg chg="add mod">
          <ac:chgData name="Chaudhari, Rekha Prashant" userId="96ddbd71-f8cd-4c9c-a070-1de496c55735" providerId="ADAL" clId="{11DA675D-C2B9-40D6-A2C8-A67752F5F42F}" dt="2023-06-15T09:53:15.228" v="488" actId="1076"/>
          <ac:picMkLst>
            <pc:docMk/>
            <pc:sldMk cId="3221201768" sldId="349"/>
            <ac:picMk id="1026" creationId="{8219FAA7-3BA8-DAD2-EE99-D36B47D77DCB}"/>
          </ac:picMkLst>
        </pc:picChg>
      </pc:sldChg>
      <pc:sldChg chg="modSp add mod">
        <pc:chgData name="Chaudhari, Rekha Prashant" userId="96ddbd71-f8cd-4c9c-a070-1de496c55735" providerId="ADAL" clId="{11DA675D-C2B9-40D6-A2C8-A67752F5F42F}" dt="2023-06-15T10:05:13.743" v="553" actId="20577"/>
        <pc:sldMkLst>
          <pc:docMk/>
          <pc:sldMk cId="2733113530" sldId="350"/>
        </pc:sldMkLst>
        <pc:spChg chg="mod">
          <ac:chgData name="Chaudhari, Rekha Prashant" userId="96ddbd71-f8cd-4c9c-a070-1de496c55735" providerId="ADAL" clId="{11DA675D-C2B9-40D6-A2C8-A67752F5F42F}" dt="2023-06-15T10:03:52.499" v="548" actId="20577"/>
          <ac:spMkLst>
            <pc:docMk/>
            <pc:sldMk cId="2733113530" sldId="350"/>
            <ac:spMk id="2" creationId="{2EC43AC6-7C18-4B2C-8230-6F3245C104C0}"/>
          </ac:spMkLst>
        </pc:spChg>
        <pc:spChg chg="mod">
          <ac:chgData name="Chaudhari, Rekha Prashant" userId="96ddbd71-f8cd-4c9c-a070-1de496c55735" providerId="ADAL" clId="{11DA675D-C2B9-40D6-A2C8-A67752F5F42F}" dt="2023-06-15T10:05:13.743" v="553" actId="20577"/>
          <ac:spMkLst>
            <pc:docMk/>
            <pc:sldMk cId="2733113530" sldId="350"/>
            <ac:spMk id="4" creationId="{00000000-0000-0000-0000-000000000000}"/>
          </ac:spMkLst>
        </pc:spChg>
      </pc:sldChg>
      <pc:sldChg chg="modSp add mod">
        <pc:chgData name="Chaudhari, Rekha Prashant" userId="96ddbd71-f8cd-4c9c-a070-1de496c55735" providerId="ADAL" clId="{11DA675D-C2B9-40D6-A2C8-A67752F5F42F}" dt="2023-06-15T10:07:55.883" v="562" actId="20577"/>
        <pc:sldMkLst>
          <pc:docMk/>
          <pc:sldMk cId="1073331846" sldId="351"/>
        </pc:sldMkLst>
        <pc:spChg chg="mod">
          <ac:chgData name="Chaudhari, Rekha Prashant" userId="96ddbd71-f8cd-4c9c-a070-1de496c55735" providerId="ADAL" clId="{11DA675D-C2B9-40D6-A2C8-A67752F5F42F}" dt="2023-06-15T10:07:55.883" v="562" actId="20577"/>
          <ac:spMkLst>
            <pc:docMk/>
            <pc:sldMk cId="1073331846" sldId="351"/>
            <ac:spMk id="2" creationId="{2EC43AC6-7C18-4B2C-8230-6F3245C104C0}"/>
          </ac:spMkLst>
        </pc:spChg>
        <pc:spChg chg="mod">
          <ac:chgData name="Chaudhari, Rekha Prashant" userId="96ddbd71-f8cd-4c9c-a070-1de496c55735" providerId="ADAL" clId="{11DA675D-C2B9-40D6-A2C8-A67752F5F42F}" dt="2023-06-15T09:56:28.892" v="527" actId="20577"/>
          <ac:spMkLst>
            <pc:docMk/>
            <pc:sldMk cId="1073331846" sldId="351"/>
            <ac:spMk id="4"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F86EE7-C8AF-44C7-86E0-8DA5356CF147}" type="doc">
      <dgm:prSet loTypeId="urn:microsoft.com/office/officeart/2011/layout/HexagonRadial" loCatId="officeonline" qsTypeId="urn:microsoft.com/office/officeart/2005/8/quickstyle/simple1" qsCatId="simple" csTypeId="urn:microsoft.com/office/officeart/2005/8/colors/colorful3" csCatId="colorful" phldr="1"/>
      <dgm:spPr/>
      <dgm:t>
        <a:bodyPr/>
        <a:lstStyle/>
        <a:p>
          <a:endParaRPr lang="en-US"/>
        </a:p>
      </dgm:t>
    </dgm:pt>
    <dgm:pt modelId="{D6489526-24AB-4F1A-93E4-ED0D79EBA55B}">
      <dgm:prSet phldrT="[Text]"/>
      <dgm:spPr/>
      <dgm:t>
        <a:bodyPr/>
        <a:lstStyle/>
        <a:p>
          <a:r>
            <a:rPr lang="en-US" dirty="0"/>
            <a:t>Azure</a:t>
          </a:r>
        </a:p>
      </dgm:t>
    </dgm:pt>
    <dgm:pt modelId="{DBCF512B-E639-4EF9-B763-BAD2C2BD3F13}" type="parTrans" cxnId="{E863BB23-0605-4CD4-8512-0723D6663303}">
      <dgm:prSet/>
      <dgm:spPr/>
      <dgm:t>
        <a:bodyPr/>
        <a:lstStyle/>
        <a:p>
          <a:endParaRPr lang="en-US"/>
        </a:p>
      </dgm:t>
    </dgm:pt>
    <dgm:pt modelId="{5C6CE358-A235-42B5-8BF5-33CFDDF69090}" type="sibTrans" cxnId="{E863BB23-0605-4CD4-8512-0723D6663303}">
      <dgm:prSet/>
      <dgm:spPr/>
      <dgm:t>
        <a:bodyPr/>
        <a:lstStyle/>
        <a:p>
          <a:endParaRPr lang="en-US"/>
        </a:p>
      </dgm:t>
    </dgm:pt>
    <dgm:pt modelId="{4A34851A-5E0C-44B3-9DD4-F2ACD0773BC7}">
      <dgm:prSet phldrT="[Text]"/>
      <dgm:spPr/>
      <dgm:t>
        <a:bodyPr/>
        <a:lstStyle/>
        <a:p>
          <a:r>
            <a:rPr lang="en-US" b="0" i="0" dirty="0"/>
            <a:t>Reliable and secure</a:t>
          </a:r>
          <a:endParaRPr lang="en-US" dirty="0"/>
        </a:p>
      </dgm:t>
    </dgm:pt>
    <dgm:pt modelId="{9A5414B6-0445-4A5E-9CBC-534FC1FB903E}" type="parTrans" cxnId="{A04A339B-EA11-4026-8B39-74A326E68872}">
      <dgm:prSet/>
      <dgm:spPr/>
      <dgm:t>
        <a:bodyPr/>
        <a:lstStyle/>
        <a:p>
          <a:endParaRPr lang="en-US"/>
        </a:p>
      </dgm:t>
    </dgm:pt>
    <dgm:pt modelId="{EFDABA6C-1A89-4EB6-B541-00EDD31DDF76}" type="sibTrans" cxnId="{A04A339B-EA11-4026-8B39-74A326E68872}">
      <dgm:prSet/>
      <dgm:spPr/>
      <dgm:t>
        <a:bodyPr/>
        <a:lstStyle/>
        <a:p>
          <a:endParaRPr lang="en-US"/>
        </a:p>
      </dgm:t>
    </dgm:pt>
    <dgm:pt modelId="{94EC2DC3-5621-49B2-B0A1-54F7B93ACE93}">
      <dgm:prSet phldrT="[Text]"/>
      <dgm:spPr/>
      <dgm:t>
        <a:bodyPr/>
        <a:lstStyle/>
        <a:p>
          <a:r>
            <a:rPr lang="en-US" b="0" i="0" dirty="0"/>
            <a:t>Quick and easy deployment</a:t>
          </a:r>
          <a:endParaRPr lang="en-US" dirty="0"/>
        </a:p>
      </dgm:t>
    </dgm:pt>
    <dgm:pt modelId="{79A778AD-AEE2-4713-BD29-C45869D255FC}" type="parTrans" cxnId="{542818AD-CBA9-47B0-AF8B-8943C23FB0C4}">
      <dgm:prSet/>
      <dgm:spPr/>
      <dgm:t>
        <a:bodyPr/>
        <a:lstStyle/>
        <a:p>
          <a:endParaRPr lang="en-US"/>
        </a:p>
      </dgm:t>
    </dgm:pt>
    <dgm:pt modelId="{92CFEDF2-E4EA-42AA-8025-CFCA623E0A25}" type="sibTrans" cxnId="{542818AD-CBA9-47B0-AF8B-8943C23FB0C4}">
      <dgm:prSet/>
      <dgm:spPr/>
      <dgm:t>
        <a:bodyPr/>
        <a:lstStyle/>
        <a:p>
          <a:endParaRPr lang="en-US"/>
        </a:p>
      </dgm:t>
    </dgm:pt>
    <dgm:pt modelId="{4D680221-F98C-466E-8D25-9EC14AEC3347}">
      <dgm:prSet phldrT="[Text]"/>
      <dgm:spPr/>
      <dgm:t>
        <a:bodyPr/>
        <a:lstStyle/>
        <a:p>
          <a:r>
            <a:rPr lang="en-US" b="0" i="0" dirty="0"/>
            <a:t>Pay only for what you use</a:t>
          </a:r>
          <a:endParaRPr lang="en-US" dirty="0"/>
        </a:p>
      </dgm:t>
    </dgm:pt>
    <dgm:pt modelId="{C6E4B3E3-54A0-4041-9A23-162B526CF563}" type="parTrans" cxnId="{44EE7854-75F5-47AB-AE91-BC98A14C88B2}">
      <dgm:prSet/>
      <dgm:spPr/>
      <dgm:t>
        <a:bodyPr/>
        <a:lstStyle/>
        <a:p>
          <a:endParaRPr lang="en-US"/>
        </a:p>
      </dgm:t>
    </dgm:pt>
    <dgm:pt modelId="{36919FB1-6002-416A-8964-C0B734B3B7D9}" type="sibTrans" cxnId="{44EE7854-75F5-47AB-AE91-BC98A14C88B2}">
      <dgm:prSet/>
      <dgm:spPr/>
      <dgm:t>
        <a:bodyPr/>
        <a:lstStyle/>
        <a:p>
          <a:endParaRPr lang="en-US"/>
        </a:p>
      </dgm:t>
    </dgm:pt>
    <dgm:pt modelId="{9BFBD929-4A45-4A41-8DC4-F256EC670DDC}">
      <dgm:prSet phldrT="[Text]"/>
      <dgm:spPr/>
      <dgm:t>
        <a:bodyPr/>
        <a:lstStyle/>
        <a:p>
          <a:r>
            <a:rPr lang="en-US" b="0" i="0" dirty="0"/>
            <a:t>Worldwide datacenters</a:t>
          </a:r>
          <a:endParaRPr lang="en-US" dirty="0"/>
        </a:p>
      </dgm:t>
    </dgm:pt>
    <dgm:pt modelId="{DD901232-E073-4567-939F-65864E0EFF83}" type="parTrans" cxnId="{E67E33C3-03F9-409E-90E4-6680E797EDC8}">
      <dgm:prSet/>
      <dgm:spPr/>
      <dgm:t>
        <a:bodyPr/>
        <a:lstStyle/>
        <a:p>
          <a:endParaRPr lang="en-US"/>
        </a:p>
      </dgm:t>
    </dgm:pt>
    <dgm:pt modelId="{4D17AFF5-517F-4B35-9563-97DD7439D11F}" type="sibTrans" cxnId="{E67E33C3-03F9-409E-90E4-6680E797EDC8}">
      <dgm:prSet/>
      <dgm:spPr/>
      <dgm:t>
        <a:bodyPr/>
        <a:lstStyle/>
        <a:p>
          <a:endParaRPr lang="en-US"/>
        </a:p>
      </dgm:t>
    </dgm:pt>
    <dgm:pt modelId="{E7FDB19A-6CF2-4844-8290-6F3593CA0191}">
      <dgm:prSet phldrT="[Text]"/>
      <dgm:spPr/>
      <dgm:t>
        <a:bodyPr/>
        <a:lstStyle/>
        <a:p>
          <a:r>
            <a:rPr lang="en-US" b="0" i="0" dirty="0"/>
            <a:t>Unlimited storage and capacity</a:t>
          </a:r>
          <a:endParaRPr lang="en-US" dirty="0"/>
        </a:p>
      </dgm:t>
    </dgm:pt>
    <dgm:pt modelId="{519B282C-4BFE-4310-B826-9BB7AB70D135}" type="parTrans" cxnId="{85793721-8B51-46A4-895C-3244983438F2}">
      <dgm:prSet/>
      <dgm:spPr/>
      <dgm:t>
        <a:bodyPr/>
        <a:lstStyle/>
        <a:p>
          <a:endParaRPr lang="en-US"/>
        </a:p>
      </dgm:t>
    </dgm:pt>
    <dgm:pt modelId="{B31CEA54-61D3-426B-B537-35C242C526F8}" type="sibTrans" cxnId="{85793721-8B51-46A4-895C-3244983438F2}">
      <dgm:prSet/>
      <dgm:spPr/>
      <dgm:t>
        <a:bodyPr/>
        <a:lstStyle/>
        <a:p>
          <a:endParaRPr lang="en-US"/>
        </a:p>
      </dgm:t>
    </dgm:pt>
    <dgm:pt modelId="{5126D7B5-75CC-4CE2-8C59-20F064F247F0}">
      <dgm:prSet/>
      <dgm:spPr/>
      <dgm:t>
        <a:bodyPr/>
        <a:lstStyle/>
        <a:p>
          <a:r>
            <a:rPr lang="en-US" b="0" i="0" dirty="0"/>
            <a:t>Flexible &amp; Scalable</a:t>
          </a:r>
          <a:endParaRPr lang="en-US" dirty="0"/>
        </a:p>
      </dgm:t>
    </dgm:pt>
    <dgm:pt modelId="{82C6612D-68FD-47FC-BAB7-7AFAE87C1192}" type="parTrans" cxnId="{BB7880C2-8F06-4B11-AED1-F61B33EB28C1}">
      <dgm:prSet/>
      <dgm:spPr/>
      <dgm:t>
        <a:bodyPr/>
        <a:lstStyle/>
        <a:p>
          <a:endParaRPr lang="en-US"/>
        </a:p>
      </dgm:t>
    </dgm:pt>
    <dgm:pt modelId="{340FF222-46C4-4C55-931A-8F600CC72FC5}" type="sibTrans" cxnId="{BB7880C2-8F06-4B11-AED1-F61B33EB28C1}">
      <dgm:prSet/>
      <dgm:spPr/>
      <dgm:t>
        <a:bodyPr/>
        <a:lstStyle/>
        <a:p>
          <a:endParaRPr lang="en-US"/>
        </a:p>
      </dgm:t>
    </dgm:pt>
    <dgm:pt modelId="{7C88B710-2C6C-4F9D-905B-8397865C1D1A}" type="pres">
      <dgm:prSet presAssocID="{DEF86EE7-C8AF-44C7-86E0-8DA5356CF147}" presName="Name0" presStyleCnt="0">
        <dgm:presLayoutVars>
          <dgm:chMax val="1"/>
          <dgm:chPref val="1"/>
          <dgm:dir/>
          <dgm:animOne val="branch"/>
          <dgm:animLvl val="lvl"/>
        </dgm:presLayoutVars>
      </dgm:prSet>
      <dgm:spPr/>
    </dgm:pt>
    <dgm:pt modelId="{F5520728-26FC-455F-B26F-86D78A2FC309}" type="pres">
      <dgm:prSet presAssocID="{D6489526-24AB-4F1A-93E4-ED0D79EBA55B}" presName="Parent" presStyleLbl="node0" presStyleIdx="0" presStyleCnt="1">
        <dgm:presLayoutVars>
          <dgm:chMax val="6"/>
          <dgm:chPref val="6"/>
        </dgm:presLayoutVars>
      </dgm:prSet>
      <dgm:spPr/>
    </dgm:pt>
    <dgm:pt modelId="{B2D849DE-EB8A-4D7F-9E2A-A32253D357F9}" type="pres">
      <dgm:prSet presAssocID="{4A34851A-5E0C-44B3-9DD4-F2ACD0773BC7}" presName="Accent1" presStyleCnt="0"/>
      <dgm:spPr/>
    </dgm:pt>
    <dgm:pt modelId="{BB25BFE8-3CC7-4858-BDBE-6DC65EE9C997}" type="pres">
      <dgm:prSet presAssocID="{4A34851A-5E0C-44B3-9DD4-F2ACD0773BC7}" presName="Accent" presStyleLbl="bgShp" presStyleIdx="0" presStyleCnt="6"/>
      <dgm:spPr/>
    </dgm:pt>
    <dgm:pt modelId="{55C1F9E2-BEEF-4F08-ADFE-E7E2ED19ADFD}" type="pres">
      <dgm:prSet presAssocID="{4A34851A-5E0C-44B3-9DD4-F2ACD0773BC7}" presName="Child1" presStyleLbl="node1" presStyleIdx="0" presStyleCnt="6">
        <dgm:presLayoutVars>
          <dgm:chMax val="0"/>
          <dgm:chPref val="0"/>
          <dgm:bulletEnabled val="1"/>
        </dgm:presLayoutVars>
      </dgm:prSet>
      <dgm:spPr/>
    </dgm:pt>
    <dgm:pt modelId="{84598A76-1A18-4C53-A5A3-C85087E9B3FA}" type="pres">
      <dgm:prSet presAssocID="{94EC2DC3-5621-49B2-B0A1-54F7B93ACE93}" presName="Accent2" presStyleCnt="0"/>
      <dgm:spPr/>
    </dgm:pt>
    <dgm:pt modelId="{A1AE25B0-8DFC-42D4-828C-BB9B3ECB262D}" type="pres">
      <dgm:prSet presAssocID="{94EC2DC3-5621-49B2-B0A1-54F7B93ACE93}" presName="Accent" presStyleLbl="bgShp" presStyleIdx="1" presStyleCnt="6"/>
      <dgm:spPr/>
    </dgm:pt>
    <dgm:pt modelId="{37944E8F-5412-4F08-9025-65760F061724}" type="pres">
      <dgm:prSet presAssocID="{94EC2DC3-5621-49B2-B0A1-54F7B93ACE93}" presName="Child2" presStyleLbl="node1" presStyleIdx="1" presStyleCnt="6">
        <dgm:presLayoutVars>
          <dgm:chMax val="0"/>
          <dgm:chPref val="0"/>
          <dgm:bulletEnabled val="1"/>
        </dgm:presLayoutVars>
      </dgm:prSet>
      <dgm:spPr/>
    </dgm:pt>
    <dgm:pt modelId="{FC7E2FDC-305A-4993-91EE-21FA72AB92E6}" type="pres">
      <dgm:prSet presAssocID="{4D680221-F98C-466E-8D25-9EC14AEC3347}" presName="Accent3" presStyleCnt="0"/>
      <dgm:spPr/>
    </dgm:pt>
    <dgm:pt modelId="{AC2F02F6-C284-4CE8-8E37-1CE9AEE0AFDB}" type="pres">
      <dgm:prSet presAssocID="{4D680221-F98C-466E-8D25-9EC14AEC3347}" presName="Accent" presStyleLbl="bgShp" presStyleIdx="2" presStyleCnt="6"/>
      <dgm:spPr/>
    </dgm:pt>
    <dgm:pt modelId="{5BBE20CD-6C47-4E77-9B72-C67D81278878}" type="pres">
      <dgm:prSet presAssocID="{4D680221-F98C-466E-8D25-9EC14AEC3347}" presName="Child3" presStyleLbl="node1" presStyleIdx="2" presStyleCnt="6">
        <dgm:presLayoutVars>
          <dgm:chMax val="0"/>
          <dgm:chPref val="0"/>
          <dgm:bulletEnabled val="1"/>
        </dgm:presLayoutVars>
      </dgm:prSet>
      <dgm:spPr/>
    </dgm:pt>
    <dgm:pt modelId="{1C36E02C-0424-4912-8420-805CEAAB5C3D}" type="pres">
      <dgm:prSet presAssocID="{5126D7B5-75CC-4CE2-8C59-20F064F247F0}" presName="Accent4" presStyleCnt="0"/>
      <dgm:spPr/>
    </dgm:pt>
    <dgm:pt modelId="{14ED7EDB-1007-4266-95E0-CA696C902785}" type="pres">
      <dgm:prSet presAssocID="{5126D7B5-75CC-4CE2-8C59-20F064F247F0}" presName="Accent" presStyleLbl="bgShp" presStyleIdx="3" presStyleCnt="6"/>
      <dgm:spPr/>
    </dgm:pt>
    <dgm:pt modelId="{DEF589DB-507B-4B36-B124-2571F7309A4F}" type="pres">
      <dgm:prSet presAssocID="{5126D7B5-75CC-4CE2-8C59-20F064F247F0}" presName="Child4" presStyleLbl="node1" presStyleIdx="3" presStyleCnt="6">
        <dgm:presLayoutVars>
          <dgm:chMax val="0"/>
          <dgm:chPref val="0"/>
          <dgm:bulletEnabled val="1"/>
        </dgm:presLayoutVars>
      </dgm:prSet>
      <dgm:spPr/>
    </dgm:pt>
    <dgm:pt modelId="{39C3728C-6DDC-4D69-A2A2-8BEF98378DB8}" type="pres">
      <dgm:prSet presAssocID="{9BFBD929-4A45-4A41-8DC4-F256EC670DDC}" presName="Accent5" presStyleCnt="0"/>
      <dgm:spPr/>
    </dgm:pt>
    <dgm:pt modelId="{7DF231E2-5931-4B61-92C3-E92BBCEEF45A}" type="pres">
      <dgm:prSet presAssocID="{9BFBD929-4A45-4A41-8DC4-F256EC670DDC}" presName="Accent" presStyleLbl="bgShp" presStyleIdx="4" presStyleCnt="6"/>
      <dgm:spPr/>
    </dgm:pt>
    <dgm:pt modelId="{B938B178-0C0B-49B0-A97C-ABE3615AD2A2}" type="pres">
      <dgm:prSet presAssocID="{9BFBD929-4A45-4A41-8DC4-F256EC670DDC}" presName="Child5" presStyleLbl="node1" presStyleIdx="4" presStyleCnt="6">
        <dgm:presLayoutVars>
          <dgm:chMax val="0"/>
          <dgm:chPref val="0"/>
          <dgm:bulletEnabled val="1"/>
        </dgm:presLayoutVars>
      </dgm:prSet>
      <dgm:spPr/>
    </dgm:pt>
    <dgm:pt modelId="{99FABF5C-AE6B-4A54-802B-9401DF1C6C41}" type="pres">
      <dgm:prSet presAssocID="{E7FDB19A-6CF2-4844-8290-6F3593CA0191}" presName="Accent6" presStyleCnt="0"/>
      <dgm:spPr/>
    </dgm:pt>
    <dgm:pt modelId="{421E388F-7E26-4BC8-9A82-FED254B3A9C6}" type="pres">
      <dgm:prSet presAssocID="{E7FDB19A-6CF2-4844-8290-6F3593CA0191}" presName="Accent" presStyleLbl="bgShp" presStyleIdx="5" presStyleCnt="6"/>
      <dgm:spPr/>
    </dgm:pt>
    <dgm:pt modelId="{86EEBA41-3ECC-48EA-B44D-99671680877A}" type="pres">
      <dgm:prSet presAssocID="{E7FDB19A-6CF2-4844-8290-6F3593CA0191}" presName="Child6" presStyleLbl="node1" presStyleIdx="5" presStyleCnt="6">
        <dgm:presLayoutVars>
          <dgm:chMax val="0"/>
          <dgm:chPref val="0"/>
          <dgm:bulletEnabled val="1"/>
        </dgm:presLayoutVars>
      </dgm:prSet>
      <dgm:spPr/>
    </dgm:pt>
  </dgm:ptLst>
  <dgm:cxnLst>
    <dgm:cxn modelId="{7CA96A1D-53B3-42FF-827F-CA2BEA50091E}" type="presOf" srcId="{E7FDB19A-6CF2-4844-8290-6F3593CA0191}" destId="{86EEBA41-3ECC-48EA-B44D-99671680877A}" srcOrd="0" destOrd="0" presId="urn:microsoft.com/office/officeart/2011/layout/HexagonRadial"/>
    <dgm:cxn modelId="{85793721-8B51-46A4-895C-3244983438F2}" srcId="{D6489526-24AB-4F1A-93E4-ED0D79EBA55B}" destId="{E7FDB19A-6CF2-4844-8290-6F3593CA0191}" srcOrd="5" destOrd="0" parTransId="{519B282C-4BFE-4310-B826-9BB7AB70D135}" sibTransId="{B31CEA54-61D3-426B-B537-35C242C526F8}"/>
    <dgm:cxn modelId="{E863BB23-0605-4CD4-8512-0723D6663303}" srcId="{DEF86EE7-C8AF-44C7-86E0-8DA5356CF147}" destId="{D6489526-24AB-4F1A-93E4-ED0D79EBA55B}" srcOrd="0" destOrd="0" parTransId="{DBCF512B-E639-4EF9-B763-BAD2C2BD3F13}" sibTransId="{5C6CE358-A235-42B5-8BF5-33CFDDF69090}"/>
    <dgm:cxn modelId="{CD3A926A-DE47-4586-8078-7345EF765818}" type="presOf" srcId="{DEF86EE7-C8AF-44C7-86E0-8DA5356CF147}" destId="{7C88B710-2C6C-4F9D-905B-8397865C1D1A}" srcOrd="0" destOrd="0" presId="urn:microsoft.com/office/officeart/2011/layout/HexagonRadial"/>
    <dgm:cxn modelId="{44EE7854-75F5-47AB-AE91-BC98A14C88B2}" srcId="{D6489526-24AB-4F1A-93E4-ED0D79EBA55B}" destId="{4D680221-F98C-466E-8D25-9EC14AEC3347}" srcOrd="2" destOrd="0" parTransId="{C6E4B3E3-54A0-4041-9A23-162B526CF563}" sibTransId="{36919FB1-6002-416A-8964-C0B734B3B7D9}"/>
    <dgm:cxn modelId="{3A4A8155-2934-4BEE-91A1-1520A1B83F27}" type="presOf" srcId="{D6489526-24AB-4F1A-93E4-ED0D79EBA55B}" destId="{F5520728-26FC-455F-B26F-86D78A2FC309}" srcOrd="0" destOrd="0" presId="urn:microsoft.com/office/officeart/2011/layout/HexagonRadial"/>
    <dgm:cxn modelId="{95147458-A254-4EDC-91F9-CA0D7F25F559}" type="presOf" srcId="{9BFBD929-4A45-4A41-8DC4-F256EC670DDC}" destId="{B938B178-0C0B-49B0-A97C-ABE3615AD2A2}" srcOrd="0" destOrd="0" presId="urn:microsoft.com/office/officeart/2011/layout/HexagonRadial"/>
    <dgm:cxn modelId="{977BA38B-4FFC-4025-845D-3D5674B61D0C}" type="presOf" srcId="{4A34851A-5E0C-44B3-9DD4-F2ACD0773BC7}" destId="{55C1F9E2-BEEF-4F08-ADFE-E7E2ED19ADFD}" srcOrd="0" destOrd="0" presId="urn:microsoft.com/office/officeart/2011/layout/HexagonRadial"/>
    <dgm:cxn modelId="{A04A339B-EA11-4026-8B39-74A326E68872}" srcId="{D6489526-24AB-4F1A-93E4-ED0D79EBA55B}" destId="{4A34851A-5E0C-44B3-9DD4-F2ACD0773BC7}" srcOrd="0" destOrd="0" parTransId="{9A5414B6-0445-4A5E-9CBC-534FC1FB903E}" sibTransId="{EFDABA6C-1A89-4EB6-B541-00EDD31DDF76}"/>
    <dgm:cxn modelId="{542818AD-CBA9-47B0-AF8B-8943C23FB0C4}" srcId="{D6489526-24AB-4F1A-93E4-ED0D79EBA55B}" destId="{94EC2DC3-5621-49B2-B0A1-54F7B93ACE93}" srcOrd="1" destOrd="0" parTransId="{79A778AD-AEE2-4713-BD29-C45869D255FC}" sibTransId="{92CFEDF2-E4EA-42AA-8025-CFCA623E0A25}"/>
    <dgm:cxn modelId="{593ACDB7-1F19-4E8D-A607-96A52F6814D1}" type="presOf" srcId="{5126D7B5-75CC-4CE2-8C59-20F064F247F0}" destId="{DEF589DB-507B-4B36-B124-2571F7309A4F}" srcOrd="0" destOrd="0" presId="urn:microsoft.com/office/officeart/2011/layout/HexagonRadial"/>
    <dgm:cxn modelId="{BB7880C2-8F06-4B11-AED1-F61B33EB28C1}" srcId="{D6489526-24AB-4F1A-93E4-ED0D79EBA55B}" destId="{5126D7B5-75CC-4CE2-8C59-20F064F247F0}" srcOrd="3" destOrd="0" parTransId="{82C6612D-68FD-47FC-BAB7-7AFAE87C1192}" sibTransId="{340FF222-46C4-4C55-931A-8F600CC72FC5}"/>
    <dgm:cxn modelId="{E67E33C3-03F9-409E-90E4-6680E797EDC8}" srcId="{D6489526-24AB-4F1A-93E4-ED0D79EBA55B}" destId="{9BFBD929-4A45-4A41-8DC4-F256EC670DDC}" srcOrd="4" destOrd="0" parTransId="{DD901232-E073-4567-939F-65864E0EFF83}" sibTransId="{4D17AFF5-517F-4B35-9563-97DD7439D11F}"/>
    <dgm:cxn modelId="{940626E8-1666-481B-ADC5-2CDFD023B7D0}" type="presOf" srcId="{94EC2DC3-5621-49B2-B0A1-54F7B93ACE93}" destId="{37944E8F-5412-4F08-9025-65760F061724}" srcOrd="0" destOrd="0" presId="urn:microsoft.com/office/officeart/2011/layout/HexagonRadial"/>
    <dgm:cxn modelId="{BF1758FA-104F-4B24-9EB2-90FAABEE521E}" type="presOf" srcId="{4D680221-F98C-466E-8D25-9EC14AEC3347}" destId="{5BBE20CD-6C47-4E77-9B72-C67D81278878}" srcOrd="0" destOrd="0" presId="urn:microsoft.com/office/officeart/2011/layout/HexagonRadial"/>
    <dgm:cxn modelId="{79BCFDA7-8C71-4641-BE7A-A9D8C17BB46D}" type="presParOf" srcId="{7C88B710-2C6C-4F9D-905B-8397865C1D1A}" destId="{F5520728-26FC-455F-B26F-86D78A2FC309}" srcOrd="0" destOrd="0" presId="urn:microsoft.com/office/officeart/2011/layout/HexagonRadial"/>
    <dgm:cxn modelId="{E498E97A-0E1D-43BF-BEAC-4BC463D08DA8}" type="presParOf" srcId="{7C88B710-2C6C-4F9D-905B-8397865C1D1A}" destId="{B2D849DE-EB8A-4D7F-9E2A-A32253D357F9}" srcOrd="1" destOrd="0" presId="urn:microsoft.com/office/officeart/2011/layout/HexagonRadial"/>
    <dgm:cxn modelId="{849F38D8-0954-4AED-A8C5-BF884AB86C1C}" type="presParOf" srcId="{B2D849DE-EB8A-4D7F-9E2A-A32253D357F9}" destId="{BB25BFE8-3CC7-4858-BDBE-6DC65EE9C997}" srcOrd="0" destOrd="0" presId="urn:microsoft.com/office/officeart/2011/layout/HexagonRadial"/>
    <dgm:cxn modelId="{EC8C6512-E219-42E0-8760-D50B3C79F853}" type="presParOf" srcId="{7C88B710-2C6C-4F9D-905B-8397865C1D1A}" destId="{55C1F9E2-BEEF-4F08-ADFE-E7E2ED19ADFD}" srcOrd="2" destOrd="0" presId="urn:microsoft.com/office/officeart/2011/layout/HexagonRadial"/>
    <dgm:cxn modelId="{9B853D65-BEE2-489D-B46D-4A34FE0CF028}" type="presParOf" srcId="{7C88B710-2C6C-4F9D-905B-8397865C1D1A}" destId="{84598A76-1A18-4C53-A5A3-C85087E9B3FA}" srcOrd="3" destOrd="0" presId="urn:microsoft.com/office/officeart/2011/layout/HexagonRadial"/>
    <dgm:cxn modelId="{E0DC9C59-390C-4BE0-ADF3-FB5F8DB18096}" type="presParOf" srcId="{84598A76-1A18-4C53-A5A3-C85087E9B3FA}" destId="{A1AE25B0-8DFC-42D4-828C-BB9B3ECB262D}" srcOrd="0" destOrd="0" presId="urn:microsoft.com/office/officeart/2011/layout/HexagonRadial"/>
    <dgm:cxn modelId="{32AE0EA6-2F21-4D7D-8480-123AD0FC51E5}" type="presParOf" srcId="{7C88B710-2C6C-4F9D-905B-8397865C1D1A}" destId="{37944E8F-5412-4F08-9025-65760F061724}" srcOrd="4" destOrd="0" presId="urn:microsoft.com/office/officeart/2011/layout/HexagonRadial"/>
    <dgm:cxn modelId="{45B01E04-CEE1-48E3-B8B9-94BCEDDE7FF2}" type="presParOf" srcId="{7C88B710-2C6C-4F9D-905B-8397865C1D1A}" destId="{FC7E2FDC-305A-4993-91EE-21FA72AB92E6}" srcOrd="5" destOrd="0" presId="urn:microsoft.com/office/officeart/2011/layout/HexagonRadial"/>
    <dgm:cxn modelId="{C4C5B45E-4A97-4E72-9652-00435FD36725}" type="presParOf" srcId="{FC7E2FDC-305A-4993-91EE-21FA72AB92E6}" destId="{AC2F02F6-C284-4CE8-8E37-1CE9AEE0AFDB}" srcOrd="0" destOrd="0" presId="urn:microsoft.com/office/officeart/2011/layout/HexagonRadial"/>
    <dgm:cxn modelId="{781A87C3-985B-46EE-91C8-EEF9759BFC36}" type="presParOf" srcId="{7C88B710-2C6C-4F9D-905B-8397865C1D1A}" destId="{5BBE20CD-6C47-4E77-9B72-C67D81278878}" srcOrd="6" destOrd="0" presId="urn:microsoft.com/office/officeart/2011/layout/HexagonRadial"/>
    <dgm:cxn modelId="{4A477C1C-65AD-4437-800D-70D07BFEC279}" type="presParOf" srcId="{7C88B710-2C6C-4F9D-905B-8397865C1D1A}" destId="{1C36E02C-0424-4912-8420-805CEAAB5C3D}" srcOrd="7" destOrd="0" presId="urn:microsoft.com/office/officeart/2011/layout/HexagonRadial"/>
    <dgm:cxn modelId="{0EC352CF-EF2A-40A4-BB4D-6B11AF53936D}" type="presParOf" srcId="{1C36E02C-0424-4912-8420-805CEAAB5C3D}" destId="{14ED7EDB-1007-4266-95E0-CA696C902785}" srcOrd="0" destOrd="0" presId="urn:microsoft.com/office/officeart/2011/layout/HexagonRadial"/>
    <dgm:cxn modelId="{26F37243-160A-4678-8B9F-A3362372BAF9}" type="presParOf" srcId="{7C88B710-2C6C-4F9D-905B-8397865C1D1A}" destId="{DEF589DB-507B-4B36-B124-2571F7309A4F}" srcOrd="8" destOrd="0" presId="urn:microsoft.com/office/officeart/2011/layout/HexagonRadial"/>
    <dgm:cxn modelId="{98A42117-9185-4A58-9AA6-9364F5E5772F}" type="presParOf" srcId="{7C88B710-2C6C-4F9D-905B-8397865C1D1A}" destId="{39C3728C-6DDC-4D69-A2A2-8BEF98378DB8}" srcOrd="9" destOrd="0" presId="urn:microsoft.com/office/officeart/2011/layout/HexagonRadial"/>
    <dgm:cxn modelId="{28FFFBD6-809B-446E-8972-16AF160E119D}" type="presParOf" srcId="{39C3728C-6DDC-4D69-A2A2-8BEF98378DB8}" destId="{7DF231E2-5931-4B61-92C3-E92BBCEEF45A}" srcOrd="0" destOrd="0" presId="urn:microsoft.com/office/officeart/2011/layout/HexagonRadial"/>
    <dgm:cxn modelId="{14DC60D5-BD5B-4D08-A56B-B7CBC64B9A65}" type="presParOf" srcId="{7C88B710-2C6C-4F9D-905B-8397865C1D1A}" destId="{B938B178-0C0B-49B0-A97C-ABE3615AD2A2}" srcOrd="10" destOrd="0" presId="urn:microsoft.com/office/officeart/2011/layout/HexagonRadial"/>
    <dgm:cxn modelId="{5B656EBA-ACFB-4C70-B378-6B6F739CEE34}" type="presParOf" srcId="{7C88B710-2C6C-4F9D-905B-8397865C1D1A}" destId="{99FABF5C-AE6B-4A54-802B-9401DF1C6C41}" srcOrd="11" destOrd="0" presId="urn:microsoft.com/office/officeart/2011/layout/HexagonRadial"/>
    <dgm:cxn modelId="{F528A349-B9A2-4B3D-B808-5955D64504D1}" type="presParOf" srcId="{99FABF5C-AE6B-4A54-802B-9401DF1C6C41}" destId="{421E388F-7E26-4BC8-9A82-FED254B3A9C6}" srcOrd="0" destOrd="0" presId="urn:microsoft.com/office/officeart/2011/layout/HexagonRadial"/>
    <dgm:cxn modelId="{DB6BEA66-CA82-4788-B81D-373191D715D2}" type="presParOf" srcId="{7C88B710-2C6C-4F9D-905B-8397865C1D1A}" destId="{86EEBA41-3ECC-48EA-B44D-99671680877A}"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20728-26FC-455F-B26F-86D78A2FC309}">
      <dsp:nvSpPr>
        <dsp:cNvPr id="0" name=""/>
        <dsp:cNvSpPr/>
      </dsp:nvSpPr>
      <dsp:spPr>
        <a:xfrm>
          <a:off x="3072772" y="1812550"/>
          <a:ext cx="2303830" cy="1992906"/>
        </a:xfrm>
        <a:prstGeom prst="hexagon">
          <a:avLst>
            <a:gd name="adj" fmla="val 28570"/>
            <a:gd name="vf" fmla="val 11547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Azure</a:t>
          </a:r>
        </a:p>
      </dsp:txBody>
      <dsp:txXfrm>
        <a:off x="3454549" y="2142802"/>
        <a:ext cx="1540276" cy="1332402"/>
      </dsp:txXfrm>
    </dsp:sp>
    <dsp:sp modelId="{A1AE25B0-8DFC-42D4-828C-BB9B3ECB262D}">
      <dsp:nvSpPr>
        <dsp:cNvPr id="0" name=""/>
        <dsp:cNvSpPr/>
      </dsp:nvSpPr>
      <dsp:spPr>
        <a:xfrm>
          <a:off x="4515413" y="859079"/>
          <a:ext cx="869228" cy="748955"/>
        </a:xfrm>
        <a:prstGeom prst="hexagon">
          <a:avLst>
            <a:gd name="adj" fmla="val 28900"/>
            <a:gd name="vf" fmla="val 11547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5C1F9E2-BEEF-4F08-ADFE-E7E2ED19ADFD}">
      <dsp:nvSpPr>
        <dsp:cNvPr id="0" name=""/>
        <dsp:cNvSpPr/>
      </dsp:nvSpPr>
      <dsp:spPr>
        <a:xfrm>
          <a:off x="3284988" y="0"/>
          <a:ext cx="1887972" cy="1633318"/>
        </a:xfrm>
        <a:prstGeom prst="hexagon">
          <a:avLst>
            <a:gd name="adj" fmla="val 28570"/>
            <a:gd name="vf" fmla="val 11547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0" i="0" kern="1200" dirty="0"/>
            <a:t>Reliable and secure</a:t>
          </a:r>
          <a:endParaRPr lang="en-US" sz="1600" kern="1200" dirty="0"/>
        </a:p>
      </dsp:txBody>
      <dsp:txXfrm>
        <a:off x="3597865" y="270676"/>
        <a:ext cx="1262218" cy="1091966"/>
      </dsp:txXfrm>
    </dsp:sp>
    <dsp:sp modelId="{AC2F02F6-C284-4CE8-8E37-1CE9AEE0AFDB}">
      <dsp:nvSpPr>
        <dsp:cNvPr id="0" name=""/>
        <dsp:cNvSpPr/>
      </dsp:nvSpPr>
      <dsp:spPr>
        <a:xfrm>
          <a:off x="5529870" y="2259226"/>
          <a:ext cx="869228" cy="748955"/>
        </a:xfrm>
        <a:prstGeom prst="hexagon">
          <a:avLst>
            <a:gd name="adj" fmla="val 28900"/>
            <a:gd name="vf" fmla="val 11547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7944E8F-5412-4F08-9025-65760F061724}">
      <dsp:nvSpPr>
        <dsp:cNvPr id="0" name=""/>
        <dsp:cNvSpPr/>
      </dsp:nvSpPr>
      <dsp:spPr>
        <a:xfrm>
          <a:off x="5016478" y="1004600"/>
          <a:ext cx="1887972" cy="1633318"/>
        </a:xfrm>
        <a:prstGeom prst="hexagon">
          <a:avLst>
            <a:gd name="adj" fmla="val 28570"/>
            <a:gd name="vf" fmla="val 115470"/>
          </a:avLst>
        </a:prstGeom>
        <a:solidFill>
          <a:schemeClr val="accent3">
            <a:hueOff val="876813"/>
            <a:satOff val="5641"/>
            <a:lumOff val="90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0" i="0" kern="1200" dirty="0"/>
            <a:t>Quick and easy deployment</a:t>
          </a:r>
          <a:endParaRPr lang="en-US" sz="1600" kern="1200" dirty="0"/>
        </a:p>
      </dsp:txBody>
      <dsp:txXfrm>
        <a:off x="5329355" y="1275276"/>
        <a:ext cx="1262218" cy="1091966"/>
      </dsp:txXfrm>
    </dsp:sp>
    <dsp:sp modelId="{14ED7EDB-1007-4266-95E0-CA696C902785}">
      <dsp:nvSpPr>
        <dsp:cNvPr id="0" name=""/>
        <dsp:cNvSpPr/>
      </dsp:nvSpPr>
      <dsp:spPr>
        <a:xfrm>
          <a:off x="4825163" y="3839730"/>
          <a:ext cx="869228" cy="748955"/>
        </a:xfrm>
        <a:prstGeom prst="hexagon">
          <a:avLst>
            <a:gd name="adj" fmla="val 28900"/>
            <a:gd name="vf" fmla="val 11547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BBE20CD-6C47-4E77-9B72-C67D81278878}">
      <dsp:nvSpPr>
        <dsp:cNvPr id="0" name=""/>
        <dsp:cNvSpPr/>
      </dsp:nvSpPr>
      <dsp:spPr>
        <a:xfrm>
          <a:off x="5016478" y="2979527"/>
          <a:ext cx="1887972" cy="1633318"/>
        </a:xfrm>
        <a:prstGeom prst="hexagon">
          <a:avLst>
            <a:gd name="adj" fmla="val 28570"/>
            <a:gd name="vf" fmla="val 115470"/>
          </a:avLst>
        </a:prstGeom>
        <a:solidFill>
          <a:schemeClr val="accent3">
            <a:hueOff val="1753626"/>
            <a:satOff val="11282"/>
            <a:lumOff val="1819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0" i="0" kern="1200" dirty="0"/>
            <a:t>Pay only for what you use</a:t>
          </a:r>
          <a:endParaRPr lang="en-US" sz="1600" kern="1200" dirty="0"/>
        </a:p>
      </dsp:txBody>
      <dsp:txXfrm>
        <a:off x="5329355" y="3250203"/>
        <a:ext cx="1262218" cy="1091966"/>
      </dsp:txXfrm>
    </dsp:sp>
    <dsp:sp modelId="{7DF231E2-5931-4B61-92C3-E92BBCEEF45A}">
      <dsp:nvSpPr>
        <dsp:cNvPr id="0" name=""/>
        <dsp:cNvSpPr/>
      </dsp:nvSpPr>
      <dsp:spPr>
        <a:xfrm>
          <a:off x="3077060" y="4003792"/>
          <a:ext cx="869228" cy="748955"/>
        </a:xfrm>
        <a:prstGeom prst="hexagon">
          <a:avLst>
            <a:gd name="adj" fmla="val 28900"/>
            <a:gd name="vf" fmla="val 11547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EF589DB-507B-4B36-B124-2571F7309A4F}">
      <dsp:nvSpPr>
        <dsp:cNvPr id="0" name=""/>
        <dsp:cNvSpPr/>
      </dsp:nvSpPr>
      <dsp:spPr>
        <a:xfrm>
          <a:off x="3284988" y="3985250"/>
          <a:ext cx="1887972" cy="1633318"/>
        </a:xfrm>
        <a:prstGeom prst="hexagon">
          <a:avLst>
            <a:gd name="adj" fmla="val 28570"/>
            <a:gd name="vf" fmla="val 115470"/>
          </a:avLst>
        </a:prstGeom>
        <a:solidFill>
          <a:schemeClr val="accent3">
            <a:hueOff val="2630439"/>
            <a:satOff val="16923"/>
            <a:lumOff val="272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0" i="0" kern="1200" dirty="0"/>
            <a:t>Flexible &amp; Scalable</a:t>
          </a:r>
          <a:endParaRPr lang="en-US" sz="1600" kern="1200" dirty="0"/>
        </a:p>
      </dsp:txBody>
      <dsp:txXfrm>
        <a:off x="3597865" y="4255926"/>
        <a:ext cx="1262218" cy="1091966"/>
      </dsp:txXfrm>
    </dsp:sp>
    <dsp:sp modelId="{421E388F-7E26-4BC8-9A82-FED254B3A9C6}">
      <dsp:nvSpPr>
        <dsp:cNvPr id="0" name=""/>
        <dsp:cNvSpPr/>
      </dsp:nvSpPr>
      <dsp:spPr>
        <a:xfrm>
          <a:off x="2045990" y="2604206"/>
          <a:ext cx="869228" cy="748955"/>
        </a:xfrm>
        <a:prstGeom prst="hexagon">
          <a:avLst>
            <a:gd name="adj" fmla="val 28900"/>
            <a:gd name="vf" fmla="val 11547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938B178-0C0B-49B0-A97C-ABE3615AD2A2}">
      <dsp:nvSpPr>
        <dsp:cNvPr id="0" name=""/>
        <dsp:cNvSpPr/>
      </dsp:nvSpPr>
      <dsp:spPr>
        <a:xfrm>
          <a:off x="1545460" y="2980650"/>
          <a:ext cx="1887972" cy="1633318"/>
        </a:xfrm>
        <a:prstGeom prst="hexagon">
          <a:avLst>
            <a:gd name="adj" fmla="val 28570"/>
            <a:gd name="vf" fmla="val 115470"/>
          </a:avLst>
        </a:prstGeom>
        <a:solidFill>
          <a:schemeClr val="accent3">
            <a:hueOff val="3507252"/>
            <a:satOff val="22564"/>
            <a:lumOff val="3639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0" i="0" kern="1200" dirty="0"/>
            <a:t>Worldwide datacenters</a:t>
          </a:r>
          <a:endParaRPr lang="en-US" sz="1600" kern="1200" dirty="0"/>
        </a:p>
      </dsp:txBody>
      <dsp:txXfrm>
        <a:off x="1858337" y="3251326"/>
        <a:ext cx="1262218" cy="1091966"/>
      </dsp:txXfrm>
    </dsp:sp>
    <dsp:sp modelId="{86EEBA41-3ECC-48EA-B44D-99671680877A}">
      <dsp:nvSpPr>
        <dsp:cNvPr id="0" name=""/>
        <dsp:cNvSpPr/>
      </dsp:nvSpPr>
      <dsp:spPr>
        <a:xfrm>
          <a:off x="1545460" y="1002352"/>
          <a:ext cx="1887972" cy="1633318"/>
        </a:xfrm>
        <a:prstGeom prst="hexagon">
          <a:avLst>
            <a:gd name="adj" fmla="val 28570"/>
            <a:gd name="vf" fmla="val 115470"/>
          </a:avLst>
        </a:prstGeom>
        <a:solidFill>
          <a:schemeClr val="accent3">
            <a:hueOff val="4384065"/>
            <a:satOff val="28205"/>
            <a:lumOff val="454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0" i="0" kern="1200" dirty="0"/>
            <a:t>Unlimited storage and capacity</a:t>
          </a:r>
          <a:endParaRPr lang="en-US" sz="1600" kern="1200" dirty="0"/>
        </a:p>
      </dsp:txBody>
      <dsp:txXfrm>
        <a:off x="1858337" y="1273028"/>
        <a:ext cx="1262218" cy="1091966"/>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F505A97-19D5-4B8D-917D-5FB6727D529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26319FB-1420-4F63-9671-37F8D4BDA0B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9C77C54-DC48-4BEB-9FDB-E7BE2A2A725D}" type="datetimeFigureOut">
              <a:rPr lang="en-US" smtClean="0"/>
              <a:t>6/15/2023</a:t>
            </a:fld>
            <a:endParaRPr lang="en-US"/>
          </a:p>
        </p:txBody>
      </p:sp>
      <p:sp>
        <p:nvSpPr>
          <p:cNvPr id="4" name="Footer Placeholder 3">
            <a:extLst>
              <a:ext uri="{FF2B5EF4-FFF2-40B4-BE49-F238E27FC236}">
                <a16:creationId xmlns:a16="http://schemas.microsoft.com/office/drawing/2014/main" id="{597D6981-6AE4-4B01-B4E6-535B4ADD3AB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FF95730-572F-438D-8031-26EE68CD4AB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DE6F665-FCC6-499C-92BC-8ADE43D1F8C7}" type="slidenum">
              <a:rPr lang="en-US" smtClean="0"/>
              <a:t>‹#›</a:t>
            </a:fld>
            <a:endParaRPr lang="en-US"/>
          </a:p>
        </p:txBody>
      </p:sp>
    </p:spTree>
    <p:extLst>
      <p:ext uri="{BB962C8B-B14F-4D97-AF65-F5344CB8AC3E}">
        <p14:creationId xmlns:p14="http://schemas.microsoft.com/office/powerpoint/2010/main" val="1065643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AB5752-9BC3-43EC-9D14-DBEEB8288467}" type="datetimeFigureOut">
              <a:rPr lang="en-US" smtClean="0"/>
              <a:t>6/1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E6101B-A11D-4C18-920C-0F59B31C7EF2}" type="slidenum">
              <a:rPr lang="en-US" smtClean="0"/>
              <a:t>‹#›</a:t>
            </a:fld>
            <a:endParaRPr lang="en-US"/>
          </a:p>
        </p:txBody>
      </p:sp>
    </p:spTree>
    <p:extLst>
      <p:ext uri="{BB962C8B-B14F-4D97-AF65-F5344CB8AC3E}">
        <p14:creationId xmlns:p14="http://schemas.microsoft.com/office/powerpoint/2010/main" val="25685934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1E6101B-A11D-4C18-920C-0F59B31C7EF2}" type="slidenum">
              <a:rPr lang="en-US" smtClean="0"/>
              <a:t>1</a:t>
            </a:fld>
            <a:endParaRPr lang="en-US"/>
          </a:p>
        </p:txBody>
      </p:sp>
    </p:spTree>
    <p:extLst>
      <p:ext uri="{BB962C8B-B14F-4D97-AF65-F5344CB8AC3E}">
        <p14:creationId xmlns:p14="http://schemas.microsoft.com/office/powerpoint/2010/main" val="32645799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26</a:t>
            </a:fld>
            <a:endParaRPr lang="en-US"/>
          </a:p>
        </p:txBody>
      </p:sp>
    </p:spTree>
    <p:extLst>
      <p:ext uri="{BB962C8B-B14F-4D97-AF65-F5344CB8AC3E}">
        <p14:creationId xmlns:p14="http://schemas.microsoft.com/office/powerpoint/2010/main" val="31062532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27</a:t>
            </a:fld>
            <a:endParaRPr lang="en-US"/>
          </a:p>
        </p:txBody>
      </p:sp>
    </p:spTree>
    <p:extLst>
      <p:ext uri="{BB962C8B-B14F-4D97-AF65-F5344CB8AC3E}">
        <p14:creationId xmlns:p14="http://schemas.microsoft.com/office/powerpoint/2010/main" val="12051580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t>SQL Data Warehouse is a cloud-based Enterprise Data Warehouse (EDW) that leverages Massively Parallel Processing (MPP) to quickly run complex queries across petabytes of data.</a:t>
            </a:r>
          </a:p>
          <a:p>
            <a:pPr algn="just"/>
            <a:endParaRPr lang="en-US" dirty="0"/>
          </a:p>
          <a:p>
            <a:pPr algn="just"/>
            <a:r>
              <a:rPr lang="en-US" dirty="0"/>
              <a:t>Azure Data Factory service is a fully managed service for composing data storage, processing, and movement services into streamlined, scalable, and reliable data production pipelines. Developers can use Data Factory to transform semi-structured, unstructured and structured data from on-premises and cloud sources into trusted information </a:t>
            </a:r>
          </a:p>
          <a:p>
            <a:pPr algn="just"/>
            <a:endParaRPr lang="en-US" dirty="0"/>
          </a:p>
          <a:p>
            <a:pPr algn="just"/>
            <a:r>
              <a:rPr lang="en-US" dirty="0"/>
              <a:t>Azure </a:t>
            </a:r>
            <a:r>
              <a:rPr lang="en-US" dirty="0" err="1"/>
              <a:t>Redis</a:t>
            </a:r>
            <a:r>
              <a:rPr lang="en-US" dirty="0"/>
              <a:t> Cache is based on the popular open-source </a:t>
            </a:r>
            <a:r>
              <a:rPr lang="en-US" dirty="0" err="1"/>
              <a:t>Redis</a:t>
            </a:r>
            <a:r>
              <a:rPr lang="en-US" dirty="0"/>
              <a:t> cache. It is typically used as a cache to improve the performance and scalability of systems that rely heavily on backend data-stores. Performance is improved by temporarily copying frequently accessed data to fast storage located close to the application. With </a:t>
            </a:r>
            <a:r>
              <a:rPr lang="en-US" dirty="0" err="1"/>
              <a:t>Redis</a:t>
            </a:r>
            <a:r>
              <a:rPr lang="en-US" dirty="0"/>
              <a:t> cache, this fast storage is located in-memory with </a:t>
            </a:r>
            <a:r>
              <a:rPr lang="en-US" dirty="0" err="1"/>
              <a:t>Redis</a:t>
            </a:r>
            <a:r>
              <a:rPr lang="en-US" dirty="0"/>
              <a:t> Cache instead of being loaded from disk by a database.</a:t>
            </a:r>
          </a:p>
        </p:txBody>
      </p:sp>
      <p:sp>
        <p:nvSpPr>
          <p:cNvPr id="4" name="Slide Number Placeholder 3"/>
          <p:cNvSpPr>
            <a:spLocks noGrp="1"/>
          </p:cNvSpPr>
          <p:nvPr>
            <p:ph type="sldNum" sz="quarter" idx="10"/>
          </p:nvPr>
        </p:nvSpPr>
        <p:spPr/>
        <p:txBody>
          <a:bodyPr/>
          <a:lstStyle/>
          <a:p>
            <a:fld id="{E1E6101B-A11D-4C18-920C-0F59B31C7EF2}" type="slidenum">
              <a:rPr lang="en-US" smtClean="0"/>
              <a:t>28</a:t>
            </a:fld>
            <a:endParaRPr lang="en-US"/>
          </a:p>
        </p:txBody>
      </p:sp>
    </p:spTree>
    <p:extLst>
      <p:ext uri="{BB962C8B-B14F-4D97-AF65-F5344CB8AC3E}">
        <p14:creationId xmlns:p14="http://schemas.microsoft.com/office/powerpoint/2010/main" val="6288152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29</a:t>
            </a:fld>
            <a:endParaRPr lang="en-US"/>
          </a:p>
        </p:txBody>
      </p:sp>
    </p:spTree>
    <p:extLst>
      <p:ext uri="{BB962C8B-B14F-4D97-AF65-F5344CB8AC3E}">
        <p14:creationId xmlns:p14="http://schemas.microsoft.com/office/powerpoint/2010/main" val="26989244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30</a:t>
            </a:fld>
            <a:endParaRPr lang="en-US"/>
          </a:p>
        </p:txBody>
      </p:sp>
    </p:spTree>
    <p:extLst>
      <p:ext uri="{BB962C8B-B14F-4D97-AF65-F5344CB8AC3E}">
        <p14:creationId xmlns:p14="http://schemas.microsoft.com/office/powerpoint/2010/main" val="31188470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31</a:t>
            </a:fld>
            <a:endParaRPr lang="en-US"/>
          </a:p>
        </p:txBody>
      </p:sp>
    </p:spTree>
    <p:extLst>
      <p:ext uri="{BB962C8B-B14F-4D97-AF65-F5344CB8AC3E}">
        <p14:creationId xmlns:p14="http://schemas.microsoft.com/office/powerpoint/2010/main" val="38598149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t>It is introduced as Windows Azure and renamed as Microsoft Azure in 2014.</a:t>
            </a:r>
          </a:p>
          <a:p>
            <a:pPr algn="just"/>
            <a:endParaRPr lang="en-US" dirty="0"/>
          </a:p>
          <a:p>
            <a:pPr algn="just"/>
            <a:r>
              <a:rPr lang="en-US" dirty="0"/>
              <a:t>With Azure, you get the freedom to build and deploy wherever you want, using the tools, applications, and frameworks of your choice. You can store data using relational SQL databases, NoSQL table stores, and unstructured blob storages, and optionally use Hadoop and business intelligence services to data-mine it. You can take advantage of Microsoft Azure’s robust capabilities to enable scalable distributed applications, as well as deliver hybrid solutions that run across a cloud and on-premise enterprise environment.</a:t>
            </a:r>
          </a:p>
          <a:p>
            <a:pPr algn="just"/>
            <a:endParaRPr lang="en-US" dirty="0"/>
          </a:p>
          <a:p>
            <a:pPr algn="just"/>
            <a:r>
              <a:rPr lang="en-US" dirty="0"/>
              <a:t>Microsoft Azure can provide a bridge from your data center to the cloud.</a:t>
            </a:r>
          </a:p>
        </p:txBody>
      </p:sp>
      <p:sp>
        <p:nvSpPr>
          <p:cNvPr id="4" name="Slide Number Placeholder 3"/>
          <p:cNvSpPr>
            <a:spLocks noGrp="1"/>
          </p:cNvSpPr>
          <p:nvPr>
            <p:ph type="sldNum" sz="quarter" idx="10"/>
          </p:nvPr>
        </p:nvSpPr>
        <p:spPr/>
        <p:txBody>
          <a:bodyPr/>
          <a:lstStyle/>
          <a:p>
            <a:fld id="{E1E6101B-A11D-4C18-920C-0F59B31C7EF2}" type="slidenum">
              <a:rPr lang="en-US" smtClean="0"/>
              <a:t>42</a:t>
            </a:fld>
            <a:endParaRPr lang="en-US"/>
          </a:p>
        </p:txBody>
      </p:sp>
    </p:spTree>
    <p:extLst>
      <p:ext uri="{BB962C8B-B14F-4D97-AF65-F5344CB8AC3E}">
        <p14:creationId xmlns:p14="http://schemas.microsoft.com/office/powerpoint/2010/main" val="37741730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43</a:t>
            </a:fld>
            <a:endParaRPr lang="en-US"/>
          </a:p>
        </p:txBody>
      </p:sp>
    </p:spTree>
    <p:extLst>
      <p:ext uri="{BB962C8B-B14F-4D97-AF65-F5344CB8AC3E}">
        <p14:creationId xmlns:p14="http://schemas.microsoft.com/office/powerpoint/2010/main" val="35012802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1E6101B-A11D-4C18-920C-0F59B31C7EF2}" type="slidenum">
              <a:rPr lang="en-US" smtClean="0"/>
              <a:t>44</a:t>
            </a:fld>
            <a:endParaRPr lang="en-US"/>
          </a:p>
        </p:txBody>
      </p:sp>
    </p:spTree>
    <p:extLst>
      <p:ext uri="{BB962C8B-B14F-4D97-AF65-F5344CB8AC3E}">
        <p14:creationId xmlns:p14="http://schemas.microsoft.com/office/powerpoint/2010/main" val="29571322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1E6101B-A11D-4C18-920C-0F59B31C7EF2}" type="slidenum">
              <a:rPr lang="en-US" smtClean="0"/>
              <a:t>2</a:t>
            </a:fld>
            <a:endParaRPr lang="en-US"/>
          </a:p>
        </p:txBody>
      </p:sp>
    </p:spTree>
    <p:extLst>
      <p:ext uri="{BB962C8B-B14F-4D97-AF65-F5344CB8AC3E}">
        <p14:creationId xmlns:p14="http://schemas.microsoft.com/office/powerpoint/2010/main" val="4066734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t>It is introduced as Windows Azure and renamed as Microsoft Azure in 2014.</a:t>
            </a:r>
          </a:p>
          <a:p>
            <a:pPr algn="just"/>
            <a:endParaRPr lang="en-US" dirty="0"/>
          </a:p>
          <a:p>
            <a:pPr algn="just"/>
            <a:r>
              <a:rPr lang="en-US" dirty="0"/>
              <a:t>With Azure, you get the freedom to build and deploy wherever you want, using the tools, applications, and frameworks of your choice. You can store data using relational SQL databases, NoSQL table stores, and unstructured blob storages, and optionally use Hadoop and business intelligence services to data-mine it. You can take advantage of Microsoft Azure’s robust capabilities to enable scalable distributed applications, as well as deliver hybrid solutions that run across a cloud and on-premise enterprise environment.</a:t>
            </a:r>
          </a:p>
          <a:p>
            <a:pPr algn="just"/>
            <a:endParaRPr lang="en-US" dirty="0"/>
          </a:p>
          <a:p>
            <a:pPr algn="just"/>
            <a:r>
              <a:rPr lang="en-US" dirty="0"/>
              <a:t>Microsoft Azure can provide a bridge from your data center to the cloud.</a:t>
            </a:r>
          </a:p>
        </p:txBody>
      </p:sp>
      <p:sp>
        <p:nvSpPr>
          <p:cNvPr id="4" name="Slide Number Placeholder 3"/>
          <p:cNvSpPr>
            <a:spLocks noGrp="1"/>
          </p:cNvSpPr>
          <p:nvPr>
            <p:ph type="sldNum" sz="quarter" idx="10"/>
          </p:nvPr>
        </p:nvSpPr>
        <p:spPr/>
        <p:txBody>
          <a:bodyPr/>
          <a:lstStyle/>
          <a:p>
            <a:fld id="{E1E6101B-A11D-4C18-920C-0F59B31C7EF2}" type="slidenum">
              <a:rPr lang="en-US" smtClean="0"/>
              <a:t>3</a:t>
            </a:fld>
            <a:endParaRPr lang="en-US"/>
          </a:p>
        </p:txBody>
      </p:sp>
    </p:spTree>
    <p:extLst>
      <p:ext uri="{BB962C8B-B14F-4D97-AF65-F5344CB8AC3E}">
        <p14:creationId xmlns:p14="http://schemas.microsoft.com/office/powerpoint/2010/main" val="18772924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4284663"/>
          </a:xfrm>
        </p:spPr>
        <p:txBody>
          <a:bodyPr/>
          <a:lstStyle/>
          <a:p>
            <a:pPr algn="just"/>
            <a:r>
              <a:rPr lang="en-US" b="1" dirty="0"/>
              <a:t>Regions</a:t>
            </a:r>
          </a:p>
          <a:p>
            <a:pPr algn="just"/>
            <a:endParaRPr lang="en-US" dirty="0"/>
          </a:p>
          <a:p>
            <a:pPr algn="just"/>
            <a:r>
              <a:rPr lang="en-US" dirty="0"/>
              <a:t>A region is a set of datacenters deployed within a latency-defined perimeter and connected through a dedicated regional low-latency network.</a:t>
            </a:r>
          </a:p>
          <a:p>
            <a:pPr algn="just"/>
            <a:endParaRPr lang="en-US" dirty="0"/>
          </a:p>
          <a:p>
            <a:pPr algn="just"/>
            <a:r>
              <a:rPr lang="en-US" dirty="0"/>
              <a:t>With more global regions than any other cloud provider, Azure gives customers the flexibility to deploy applications where they need to.</a:t>
            </a:r>
          </a:p>
          <a:p>
            <a:pPr algn="just"/>
            <a:endParaRPr lang="en-US" dirty="0"/>
          </a:p>
          <a:p>
            <a:pPr algn="just"/>
            <a:r>
              <a:rPr lang="en-US" b="1" dirty="0"/>
              <a:t>Geographies</a:t>
            </a:r>
          </a:p>
          <a:p>
            <a:pPr algn="just"/>
            <a:r>
              <a:rPr lang="en-US" dirty="0"/>
              <a:t>A geography is a discrete market, typically containing two or more regions, that preserves data residency and compliance boundaries. Geographies allow customers with specific data-residency and compliance needs to keep their data and applications close. Geographies are fault-tolerant to withstand complete region failure through their connection to our dedicated high-capacity networking infrastructure.</a:t>
            </a:r>
          </a:p>
          <a:p>
            <a:pPr algn="just"/>
            <a:endParaRPr lang="en-US" dirty="0"/>
          </a:p>
          <a:p>
            <a:pPr algn="just"/>
            <a:r>
              <a:rPr lang="en-US" b="1" dirty="0"/>
              <a:t>Availability Zones</a:t>
            </a:r>
          </a:p>
          <a:p>
            <a:pPr algn="just"/>
            <a:r>
              <a:rPr lang="en-US" dirty="0"/>
              <a:t>Availability Zones are physically separate locations within an Azure region. Each Availability Zone is made up of one or more datacenters equipped with independent power, cooling, and networking. Availability Zones allow customers to run mission-critical applications with high availability and low-latency replication.</a:t>
            </a:r>
          </a:p>
        </p:txBody>
      </p:sp>
      <p:sp>
        <p:nvSpPr>
          <p:cNvPr id="4" name="Slide Number Placeholder 3"/>
          <p:cNvSpPr>
            <a:spLocks noGrp="1"/>
          </p:cNvSpPr>
          <p:nvPr>
            <p:ph type="sldNum" sz="quarter" idx="10"/>
          </p:nvPr>
        </p:nvSpPr>
        <p:spPr/>
        <p:txBody>
          <a:bodyPr/>
          <a:lstStyle/>
          <a:p>
            <a:fld id="{E1E6101B-A11D-4C18-920C-0F59B31C7EF2}" type="slidenum">
              <a:rPr lang="en-US" smtClean="0"/>
              <a:t>4</a:t>
            </a:fld>
            <a:endParaRPr lang="en-US"/>
          </a:p>
        </p:txBody>
      </p:sp>
    </p:spTree>
    <p:extLst>
      <p:ext uri="{BB962C8B-B14F-4D97-AF65-F5344CB8AC3E}">
        <p14:creationId xmlns:p14="http://schemas.microsoft.com/office/powerpoint/2010/main" val="5414289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E6101B-A11D-4C18-920C-0F59B31C7EF2}" type="slidenum">
              <a:rPr lang="en-US" smtClean="0"/>
              <a:t>5</a:t>
            </a:fld>
            <a:endParaRPr lang="en-US"/>
          </a:p>
        </p:txBody>
      </p:sp>
    </p:spTree>
    <p:extLst>
      <p:ext uri="{BB962C8B-B14F-4D97-AF65-F5344CB8AC3E}">
        <p14:creationId xmlns:p14="http://schemas.microsoft.com/office/powerpoint/2010/main" val="924386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1E6101B-A11D-4C18-920C-0F59B31C7EF2}" type="slidenum">
              <a:rPr lang="en-US" smtClean="0"/>
              <a:t>6</a:t>
            </a:fld>
            <a:endParaRPr lang="en-US"/>
          </a:p>
        </p:txBody>
      </p:sp>
    </p:spTree>
    <p:extLst>
      <p:ext uri="{BB962C8B-B14F-4D97-AF65-F5344CB8AC3E}">
        <p14:creationId xmlns:p14="http://schemas.microsoft.com/office/powerpoint/2010/main" val="30203000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1E6101B-A11D-4C18-920C-0F59B31C7EF2}" type="slidenum">
              <a:rPr lang="en-US" smtClean="0"/>
              <a:t>16</a:t>
            </a:fld>
            <a:endParaRPr lang="en-US"/>
          </a:p>
        </p:txBody>
      </p:sp>
    </p:spTree>
    <p:extLst>
      <p:ext uri="{BB962C8B-B14F-4D97-AF65-F5344CB8AC3E}">
        <p14:creationId xmlns:p14="http://schemas.microsoft.com/office/powerpoint/2010/main" val="8467026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1E6101B-A11D-4C18-920C-0F59B31C7EF2}" type="slidenum">
              <a:rPr lang="en-US" smtClean="0"/>
              <a:t>24</a:t>
            </a:fld>
            <a:endParaRPr lang="en-US"/>
          </a:p>
        </p:txBody>
      </p:sp>
    </p:spTree>
    <p:extLst>
      <p:ext uri="{BB962C8B-B14F-4D97-AF65-F5344CB8AC3E}">
        <p14:creationId xmlns:p14="http://schemas.microsoft.com/office/powerpoint/2010/main" val="21028220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t>SMB </a:t>
            </a:r>
            <a:r>
              <a:rPr lang="en-US" sz="1200" b="0" i="0" kern="1200" dirty="0">
                <a:solidFill>
                  <a:schemeClr val="tx1"/>
                </a:solidFill>
                <a:effectLst/>
                <a:latin typeface="+mn-lt"/>
                <a:ea typeface="+mn-ea"/>
                <a:cs typeface="+mn-cs"/>
              </a:rPr>
              <a:t>Stands for "Server Message Block." </a:t>
            </a:r>
            <a:r>
              <a:rPr lang="en-US" sz="1200" b="1" i="0" kern="1200" dirty="0">
                <a:solidFill>
                  <a:schemeClr val="tx1"/>
                </a:solidFill>
                <a:effectLst/>
                <a:latin typeface="+mn-lt"/>
                <a:ea typeface="+mn-ea"/>
                <a:cs typeface="+mn-cs"/>
              </a:rPr>
              <a:t>SMB</a:t>
            </a:r>
            <a:r>
              <a:rPr lang="en-US" sz="1200" b="0" i="0" kern="1200" dirty="0">
                <a:solidFill>
                  <a:schemeClr val="tx1"/>
                </a:solidFill>
                <a:effectLst/>
                <a:latin typeface="+mn-lt"/>
                <a:ea typeface="+mn-ea"/>
                <a:cs typeface="+mn-cs"/>
              </a:rPr>
              <a:t> is a network protocol used by Windows-based computers that allows systems within the same network to share files.</a:t>
            </a:r>
            <a:endParaRPr lang="en-US" dirty="0"/>
          </a:p>
        </p:txBody>
      </p:sp>
      <p:sp>
        <p:nvSpPr>
          <p:cNvPr id="4" name="Slide Number Placeholder 3"/>
          <p:cNvSpPr>
            <a:spLocks noGrp="1"/>
          </p:cNvSpPr>
          <p:nvPr>
            <p:ph type="sldNum" sz="quarter" idx="10"/>
          </p:nvPr>
        </p:nvSpPr>
        <p:spPr/>
        <p:txBody>
          <a:bodyPr/>
          <a:lstStyle/>
          <a:p>
            <a:fld id="{E1E6101B-A11D-4C18-920C-0F59B31C7EF2}" type="slidenum">
              <a:rPr lang="en-US" smtClean="0"/>
              <a:t>25</a:t>
            </a:fld>
            <a:endParaRPr lang="en-US"/>
          </a:p>
        </p:txBody>
      </p:sp>
    </p:spTree>
    <p:extLst>
      <p:ext uri="{BB962C8B-B14F-4D97-AF65-F5344CB8AC3E}">
        <p14:creationId xmlns:p14="http://schemas.microsoft.com/office/powerpoint/2010/main" val="11252199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3.xml"/><Relationship Id="rId1" Type="http://schemas.openxmlformats.org/officeDocument/2006/relationships/tags" Target="../tags/tag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3.xml"/><Relationship Id="rId1" Type="http://schemas.openxmlformats.org/officeDocument/2006/relationships/tags" Target="../tags/tag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3.xml"/><Relationship Id="rId1" Type="http://schemas.openxmlformats.org/officeDocument/2006/relationships/tags" Target="../tags/tag3.xml"/></Relationships>
</file>

<file path=ppt/slideLayouts/_rels/slideLayout14.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hyperlink" Target="https://www.capgemini.com/optimize-your-business-and-it-operations" TargetMode="External"/></Relationships>
</file>

<file path=ppt/slideLayouts/_rels/slideLayout2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s://www.capgemini.com/optimize-your-business-and-it-operations" TargetMode="Externa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2.png"/><Relationship Id="rId7" Type="http://schemas.openxmlformats.org/officeDocument/2006/relationships/image" Target="../media/image2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26.png"/><Relationship Id="rId5" Type="http://schemas.openxmlformats.org/officeDocument/2006/relationships/image" Target="../media/image23.png"/><Relationship Id="rId15" Type="http://schemas.openxmlformats.org/officeDocument/2006/relationships/image" Target="../media/image2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5.png"/><Relationship Id="rId14" Type="http://schemas.openxmlformats.org/officeDocument/2006/relationships/hyperlink" Target="http://www.capgemini.com/" TargetMode="Externa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33.svg"/><Relationship Id="rId4" Type="http://schemas.openxmlformats.org/officeDocument/2006/relationships/image" Target="../media/image32.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s://www.capgemini.com/optimize-your-business-and-it-operations" TargetMode="External"/></Relationships>
</file>

<file path=ppt/slideLayouts/_rels/slideLayout3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4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hyperlink" Target="https://www.capgemini.com/optimize-your-business-and-it-operations" TargetMode="Externa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4.svg"/><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97">
            <a:extLst>
              <a:ext uri="{FF2B5EF4-FFF2-40B4-BE49-F238E27FC236}">
                <a16:creationId xmlns:a16="http://schemas.microsoft.com/office/drawing/2014/main" id="{46279687-00F0-4823-8159-585447C125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5127434" y="0"/>
            <a:ext cx="7064566" cy="6858000"/>
          </a:xfrm>
          <a:prstGeom prst="rect">
            <a:avLst/>
          </a:prstGeom>
        </p:spPr>
      </p:pic>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734190883"/>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7843164" y="6524031"/>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5455315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7843164" y="6524031"/>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4" name="Content Placeholder 2">
            <a:extLst>
              <a:ext uri="{FF2B5EF4-FFF2-40B4-BE49-F238E27FC236}">
                <a16:creationId xmlns:a16="http://schemas.microsoft.com/office/drawing/2014/main" id="{254D594E-4220-4690-857E-853E3C1E4D01}"/>
              </a:ext>
            </a:extLst>
          </p:cNvPr>
          <p:cNvSpPr>
            <a:spLocks noGrp="1"/>
          </p:cNvSpPr>
          <p:nvPr>
            <p:ph idx="1" hasCustomPrompt="1"/>
            <p:custDataLst>
              <p:tags r:id="rId1"/>
            </p:custDataLst>
          </p:nvPr>
        </p:nvSpPr>
        <p:spPr>
          <a:xfrm>
            <a:off x="298517" y="1121076"/>
            <a:ext cx="9768333" cy="5218764"/>
          </a:xfrm>
        </p:spPr>
        <p:txBody>
          <a:bodyPr/>
          <a:lstStyle>
            <a:lvl1pPr>
              <a:defRPr sz="2400"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5" name="Picture 2" descr="http://www.strategic-resume.com/wp-content/uploads/2015/08/SummaryIcon.png">
            <a:extLst>
              <a:ext uri="{FF2B5EF4-FFF2-40B4-BE49-F238E27FC236}">
                <a16:creationId xmlns:a16="http://schemas.microsoft.com/office/drawing/2014/main" id="{AB10C592-BA6A-4E13-92DA-82A1723A5A1A}"/>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266900" y="1121076"/>
            <a:ext cx="1638300" cy="1285875"/>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029736BF-A80A-4B70-B525-8C561AD5CFB6}"/>
              </a:ext>
            </a:extLst>
          </p:cNvPr>
          <p:cNvSpPr>
            <a:spLocks noGrp="1"/>
          </p:cNvSpPr>
          <p:nvPr>
            <p:ph type="title"/>
          </p:nvPr>
        </p:nvSpPr>
        <p:spPr>
          <a:xfrm>
            <a:off x="298517" y="195444"/>
            <a:ext cx="9768333" cy="751601"/>
          </a:xfrm>
        </p:spPr>
        <p:txBody>
          <a:bodyPr/>
          <a:lstStyle>
            <a:lvl1pPr>
              <a:defRPr sz="3200"/>
            </a:lvl1pPr>
          </a:lstStyle>
          <a:p>
            <a:r>
              <a:rPr lang="en-US" dirty="0"/>
              <a:t>Click to edit Master title style</a:t>
            </a:r>
          </a:p>
        </p:txBody>
      </p:sp>
    </p:spTree>
    <p:extLst>
      <p:ext uri="{BB962C8B-B14F-4D97-AF65-F5344CB8AC3E}">
        <p14:creationId xmlns:p14="http://schemas.microsoft.com/office/powerpoint/2010/main" val="1925436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7843164" y="6524031"/>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4" name="Content Placeholder 2">
            <a:extLst>
              <a:ext uri="{FF2B5EF4-FFF2-40B4-BE49-F238E27FC236}">
                <a16:creationId xmlns:a16="http://schemas.microsoft.com/office/drawing/2014/main" id="{254D594E-4220-4690-857E-853E3C1E4D01}"/>
              </a:ext>
            </a:extLst>
          </p:cNvPr>
          <p:cNvSpPr>
            <a:spLocks noGrp="1"/>
          </p:cNvSpPr>
          <p:nvPr>
            <p:ph idx="1" hasCustomPrompt="1"/>
            <p:custDataLst>
              <p:tags r:id="rId1"/>
            </p:custDataLst>
          </p:nvPr>
        </p:nvSpPr>
        <p:spPr>
          <a:xfrm>
            <a:off x="298517" y="1121076"/>
            <a:ext cx="9768333" cy="5218764"/>
          </a:xfrm>
        </p:spPr>
        <p:txBody>
          <a:bodyPr/>
          <a:lstStyle>
            <a:lvl1pPr>
              <a:defRPr sz="2400"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Title 1">
            <a:extLst>
              <a:ext uri="{FF2B5EF4-FFF2-40B4-BE49-F238E27FC236}">
                <a16:creationId xmlns:a16="http://schemas.microsoft.com/office/drawing/2014/main" id="{029736BF-A80A-4B70-B525-8C561AD5CFB6}"/>
              </a:ext>
            </a:extLst>
          </p:cNvPr>
          <p:cNvSpPr>
            <a:spLocks noGrp="1"/>
          </p:cNvSpPr>
          <p:nvPr>
            <p:ph type="title"/>
          </p:nvPr>
        </p:nvSpPr>
        <p:spPr>
          <a:xfrm>
            <a:off x="298517" y="195444"/>
            <a:ext cx="9768333" cy="751601"/>
          </a:xfrm>
        </p:spPr>
        <p:txBody>
          <a:bodyPr/>
          <a:lstStyle>
            <a:lvl1pPr>
              <a:defRPr sz="3200"/>
            </a:lvl1pPr>
          </a:lstStyle>
          <a:p>
            <a:r>
              <a:rPr lang="en-US" dirty="0"/>
              <a:t>Click to edit Master title style</a:t>
            </a:r>
          </a:p>
        </p:txBody>
      </p:sp>
      <p:pic>
        <p:nvPicPr>
          <p:cNvPr id="7" name="Picture 6">
            <a:extLst>
              <a:ext uri="{FF2B5EF4-FFF2-40B4-BE49-F238E27FC236}">
                <a16:creationId xmlns:a16="http://schemas.microsoft.com/office/drawing/2014/main" id="{083C2757-9CA1-4274-A359-0CFE9A932D8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06629" y="1351280"/>
            <a:ext cx="1985371" cy="1508760"/>
          </a:xfrm>
          <a:prstGeom prst="rect">
            <a:avLst/>
          </a:prstGeom>
        </p:spPr>
      </p:pic>
    </p:spTree>
    <p:extLst>
      <p:ext uri="{BB962C8B-B14F-4D97-AF65-F5344CB8AC3E}">
        <p14:creationId xmlns:p14="http://schemas.microsoft.com/office/powerpoint/2010/main" val="24707724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7843164" y="6524031"/>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4" name="Content Placeholder 2">
            <a:extLst>
              <a:ext uri="{FF2B5EF4-FFF2-40B4-BE49-F238E27FC236}">
                <a16:creationId xmlns:a16="http://schemas.microsoft.com/office/drawing/2014/main" id="{254D594E-4220-4690-857E-853E3C1E4D01}"/>
              </a:ext>
            </a:extLst>
          </p:cNvPr>
          <p:cNvSpPr>
            <a:spLocks noGrp="1"/>
          </p:cNvSpPr>
          <p:nvPr>
            <p:ph idx="1" hasCustomPrompt="1"/>
            <p:custDataLst>
              <p:tags r:id="rId1"/>
            </p:custDataLst>
          </p:nvPr>
        </p:nvSpPr>
        <p:spPr>
          <a:xfrm>
            <a:off x="298517" y="1121076"/>
            <a:ext cx="9668443" cy="5218764"/>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Title 1">
            <a:extLst>
              <a:ext uri="{FF2B5EF4-FFF2-40B4-BE49-F238E27FC236}">
                <a16:creationId xmlns:a16="http://schemas.microsoft.com/office/drawing/2014/main" id="{029736BF-A80A-4B70-B525-8C561AD5CFB6}"/>
              </a:ext>
            </a:extLst>
          </p:cNvPr>
          <p:cNvSpPr>
            <a:spLocks noGrp="1"/>
          </p:cNvSpPr>
          <p:nvPr>
            <p:ph type="title"/>
          </p:nvPr>
        </p:nvSpPr>
        <p:spPr>
          <a:xfrm>
            <a:off x="298517" y="195444"/>
            <a:ext cx="9668443" cy="751601"/>
          </a:xfrm>
        </p:spPr>
        <p:txBody>
          <a:bodyPr/>
          <a:lstStyle>
            <a:lvl1pPr>
              <a:defRPr sz="3200"/>
            </a:lvl1pPr>
          </a:lstStyle>
          <a:p>
            <a:r>
              <a:rPr lang="en-US" dirty="0"/>
              <a:t>Click to edit Master title style</a:t>
            </a:r>
          </a:p>
        </p:txBody>
      </p:sp>
      <p:pic>
        <p:nvPicPr>
          <p:cNvPr id="7" name="Picture 2">
            <a:extLst>
              <a:ext uri="{FF2B5EF4-FFF2-40B4-BE49-F238E27FC236}">
                <a16:creationId xmlns:a16="http://schemas.microsoft.com/office/drawing/2014/main" id="{70692A59-F575-4F30-8149-32774D344E69}"/>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066850" y="1513840"/>
            <a:ext cx="2103120" cy="11666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54685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16098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01869091"/>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2">
            <a:extLst>
              <a:ext uri="{96DAC541-7B7A-43D3-8B79-37D633B846F1}">
                <asvg:svgBlip xmlns:asvg="http://schemas.microsoft.com/office/drawing/2016/SVG/main" r:embed="rId3"/>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5094950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099965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6" name="Text Placeholder 30">
            <a:extLst>
              <a:ext uri="{FF2B5EF4-FFF2-40B4-BE49-F238E27FC236}">
                <a16:creationId xmlns:a16="http://schemas.microsoft.com/office/drawing/2014/main"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27767513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639233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id="{829BBBD1-ECF6-4131-A3B0-11EFC39DB48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4105518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037997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18572024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35409813"/>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3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10644404"/>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0" name="Retângulo 43">
            <a:extLst>
              <a:ext uri="{FF2B5EF4-FFF2-40B4-BE49-F238E27FC236}">
                <a16:creationId xmlns:a16="http://schemas.microsoft.com/office/drawing/2014/main" id="{834ADCB4-BFB1-450D-8F6D-64217F4CD92C}"/>
              </a:ext>
            </a:extLst>
          </p:cNvPr>
          <p:cNvSpPr/>
          <p:nvPr userDrawn="1"/>
        </p:nvSpPr>
        <p:spPr>
          <a:xfrm>
            <a:off x="9560327"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138238814"/>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885165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6638114" y="4374297"/>
            <a:ext cx="4883669" cy="412363"/>
          </a:xfrm>
          <a:prstGeom prst="rect">
            <a:avLst/>
          </a:prstGeom>
          <a:noFill/>
        </p:spPr>
        <p:txBody>
          <a:bodyPr anchor="ctr">
            <a:noAutofit/>
          </a:bodyPr>
          <a:lstStyle>
            <a:lvl1pPr algn="l">
              <a:lnSpc>
                <a:spcPts val="3000"/>
              </a:lnSpc>
              <a:defRPr sz="2600" b="0">
                <a:solidFill>
                  <a:srgbClr val="12ABDB"/>
                </a:solidFill>
              </a:defRPr>
            </a:lvl1pPr>
            <a:lvl2pPr>
              <a:defRPr sz="1400"/>
            </a:lvl2pPr>
            <a:lvl3pPr>
              <a:defRPr sz="1200"/>
            </a:lvl3pPr>
            <a:lvl4pPr>
              <a:defRPr sz="1100"/>
            </a:lvl4pPr>
            <a:lvl5pPr>
              <a:defRPr sz="1100"/>
            </a:lvl5pPr>
          </a:lstStyle>
          <a:p>
            <a:pPr lvl="0"/>
            <a:r>
              <a:rPr lang="en-US" dirty="0"/>
              <a:t>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8666779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ctangle 27">
            <a:hlinkClick r:id="rId4"/>
            <a:extLst>
              <a:ext uri="{FF2B5EF4-FFF2-40B4-BE49-F238E27FC236}">
                <a16:creationId xmlns:a16="http://schemas.microsoft.com/office/drawing/2014/main" id="{F376ABD1-4930-42EB-9A73-9A9C7C6BF2D3}"/>
              </a:ext>
            </a:extLst>
          </p:cNvPr>
          <p:cNvSpPr/>
          <p:nvPr userDrawn="1"/>
        </p:nvSpPr>
        <p:spPr>
          <a:xfrm>
            <a:off x="222304" y="6555758"/>
            <a:ext cx="6320170" cy="187516"/>
          </a:xfrm>
          <a:prstGeom prst="rect">
            <a:avLst/>
          </a:prstGeom>
        </p:spPr>
        <p:txBody>
          <a:bodyPr wrap="square" lIns="0" tIns="0" rIns="0" bIns="0" anchor="ctr" anchorCtr="0">
            <a:noAutofit/>
          </a:bodyPr>
          <a:lstStyle/>
          <a:p>
            <a:pPr lvl="0" algn="l" defTabSz="914400">
              <a:lnSpc>
                <a:spcPct val="85000"/>
              </a:lnSpc>
              <a:defRPr/>
            </a:pPr>
            <a:r>
              <a:rPr lang="en-US" sz="800" dirty="0">
                <a:latin typeface="Verdana" panose="020B0604030504040204" pitchFamily="34" charset="0"/>
                <a:ea typeface="Verdana" panose="020B0604030504040204" pitchFamily="34" charset="0"/>
                <a:cs typeface="Verdana" panose="020B0604030504040204" pitchFamily="34" charset="0"/>
              </a:rPr>
              <a:t>Training delivery with DAL and Quality of Virtual Sessions by Karthik Muthukrishnan</a:t>
            </a:r>
            <a:endParaRPr lang="en-US" sz="800" kern="0" dirty="0">
              <a:solidFill>
                <a:srgbClr val="00458D"/>
              </a:solidFill>
              <a:latin typeface="+mn-lt"/>
              <a:ea typeface="+mn-ea"/>
              <a:cs typeface="Arial" panose="020B0604020202020204" pitchFamily="34" charset="0"/>
            </a:endParaRPr>
          </a:p>
        </p:txBody>
      </p:sp>
      <p:sp>
        <p:nvSpPr>
          <p:cNvPr id="15" name="Retângulo 43">
            <a:extLst>
              <a:ext uri="{FF2B5EF4-FFF2-40B4-BE49-F238E27FC236}">
                <a16:creationId xmlns:a16="http://schemas.microsoft.com/office/drawing/2014/main" id="{834ADCB4-BFB1-450D-8F6D-64217F4CD92C}"/>
              </a:ext>
            </a:extLst>
          </p:cNvPr>
          <p:cNvSpPr/>
          <p:nvPr userDrawn="1"/>
        </p:nvSpPr>
        <p:spPr>
          <a:xfrm>
            <a:off x="6837981"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81452056"/>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58822971"/>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2">
            <a:extLst>
              <a:ext uri="{96DAC541-7B7A-43D3-8B79-37D633B846F1}">
                <asvg:svgBlip xmlns:asvg="http://schemas.microsoft.com/office/drawing/2016/SVG/main" r:embed="rId3"/>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618009"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1"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2511156"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2"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4404303"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6297450"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8190597" y="5585038"/>
            <a:ext cx="1692449" cy="432048"/>
          </a:xfrm>
          <a:prstGeom prst="rect">
            <a:avLst/>
          </a:prstGeom>
        </p:spPr>
        <p:txBody>
          <a:bodyPr anchor="ctr">
            <a:noAutofit/>
          </a:bodyPr>
          <a:lstStyle>
            <a:lvl1pPr algn="ctr">
              <a:lnSpc>
                <a:spcPts val="1400"/>
              </a:lnSpc>
              <a:spcAft>
                <a:spcPts val="0"/>
              </a:spcAft>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266B7D82-19EF-4C8A-8D75-AEA2758E426F}"/>
              </a:ext>
            </a:extLst>
          </p:cNvPr>
          <p:cNvSpPr>
            <a:spLocks noGrp="1"/>
          </p:cNvSpPr>
          <p:nvPr>
            <p:ph type="body" sz="quarter" idx="40"/>
          </p:nvPr>
        </p:nvSpPr>
        <p:spPr>
          <a:xfrm>
            <a:off x="10083744" y="5585038"/>
            <a:ext cx="1692449" cy="432048"/>
          </a:xfrm>
          <a:prstGeom prst="rect">
            <a:avLst/>
          </a:prstGeom>
        </p:spPr>
        <p:txBody>
          <a:bodyPr anchor="ctr">
            <a:noAutofit/>
          </a:bodyPr>
          <a:lstStyle>
            <a:lvl1pPr algn="r">
              <a:lnSpc>
                <a:spcPts val="1600"/>
              </a:lnSpc>
              <a:defRPr sz="1400" b="1">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Edit Master text styles</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222789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407988" y="3261834"/>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4" name="Freeform 11"/>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8759164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0"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80238311"/>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2896472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ver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id="{829BBBD1-ECF6-4131-A3B0-11EFC39DB48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835770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3181C41-E797-4C55-B0D0-233FF421FA83}"/>
              </a:ext>
            </a:extLst>
          </p:cNvPr>
          <p:cNvPicPr>
            <a:picLocks noChangeAspect="1"/>
          </p:cNvPicPr>
          <p:nvPr userDrawn="1"/>
        </p:nvPicPr>
        <p:blipFill>
          <a:blip r:embed="rId2">
            <a:extLst>
              <a:ext uri="{96DAC541-7B7A-43D3-8B79-37D633B846F1}">
                <asvg:svgBlip xmlns:asvg="http://schemas.microsoft.com/office/drawing/2016/SVG/main" r:embed="rId3"/>
              </a:ext>
            </a:extLst>
          </a:blip>
          <a:srcRect t="20875"/>
          <a:stretch>
            <a:fillRect/>
          </a:stretch>
        </p:blipFill>
        <p:spPr>
          <a:xfrm rot="19800000" flipH="1">
            <a:off x="-1758634" y="-861399"/>
            <a:ext cx="8293531" cy="6688887"/>
          </a:xfrm>
          <a:custGeom>
            <a:avLst/>
            <a:gdLst>
              <a:gd name="connsiteX0" fmla="*/ 4973426 w 8293531"/>
              <a:gd name="connsiteY0" fmla="*/ 0 h 6688887"/>
              <a:gd name="connsiteX1" fmla="*/ 0 w 8293531"/>
              <a:gd name="connsiteY1" fmla="*/ 2871409 h 6688887"/>
              <a:gd name="connsiteX2" fmla="*/ 0 w 8293531"/>
              <a:gd name="connsiteY2" fmla="*/ 3722915 h 6688887"/>
              <a:gd name="connsiteX3" fmla="*/ 1712404 w 8293531"/>
              <a:gd name="connsiteY3" fmla="*/ 6688887 h 6688887"/>
              <a:gd name="connsiteX4" fmla="*/ 6973982 w 8293531"/>
              <a:gd name="connsiteY4" fmla="*/ 6688887 h 6688887"/>
              <a:gd name="connsiteX5" fmla="*/ 8293531 w 8293531"/>
              <a:gd name="connsiteY5" fmla="*/ 5927045 h 6688887"/>
              <a:gd name="connsiteX6" fmla="*/ 8293531 w 8293531"/>
              <a:gd name="connsiteY6" fmla="*/ 5750590 h 668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3531" h="6688887">
                <a:moveTo>
                  <a:pt x="4973426" y="0"/>
                </a:moveTo>
                <a:lnTo>
                  <a:pt x="0" y="2871409"/>
                </a:lnTo>
                <a:lnTo>
                  <a:pt x="0" y="3722915"/>
                </a:lnTo>
                <a:lnTo>
                  <a:pt x="1712404" y="6688887"/>
                </a:lnTo>
                <a:lnTo>
                  <a:pt x="6973982" y="6688887"/>
                </a:lnTo>
                <a:lnTo>
                  <a:pt x="8293531" y="5927045"/>
                </a:lnTo>
                <a:lnTo>
                  <a:pt x="8293531" y="5750590"/>
                </a:lnTo>
                <a:close/>
              </a:path>
            </a:pathLst>
          </a:cu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0687306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pic>
        <p:nvPicPr>
          <p:cNvPr id="15" name="Graphic 5">
            <a:extLst>
              <a:ext uri="{FF2B5EF4-FFF2-40B4-BE49-F238E27FC236}">
                <a16:creationId xmlns:a16="http://schemas.microsoft.com/office/drawing/2014/main" id="{A3E3F225-1B4B-4BB0-90A9-90BB2D36294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450" t="17874" b="13048"/>
          <a:stretch/>
        </p:blipFill>
        <p:spPr>
          <a:xfrm>
            <a:off x="0" y="1"/>
            <a:ext cx="9464870" cy="6858000"/>
          </a:xfrm>
          <a:prstGeom prst="rect">
            <a:avLst/>
          </a:prstGeom>
        </p:spPr>
      </p:pic>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66990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7960190"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691443393"/>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939799" y="707444"/>
            <a:ext cx="2895436"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939799" y="2564904"/>
            <a:ext cx="2895435"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3067050"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7510780"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1057331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3715978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533459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a16="http://schemas.microsoft.com/office/drawing/2014/main" id="{4CF70ABC-C3CC-4467-BF60-A472180D4920}"/>
              </a:ext>
            </a:extLst>
          </p:cNvPr>
          <p:cNvSpPr>
            <a:spLocks noGrp="1"/>
          </p:cNvSpPr>
          <p:nvPr>
            <p:ph type="tbl" sz="quarter" idx="17"/>
          </p:nvPr>
        </p:nvSpPr>
        <p:spPr>
          <a:xfrm>
            <a:off x="407988" y="2073275"/>
            <a:ext cx="11376025" cy="4178300"/>
          </a:xfrm>
          <a:prstGeom prst="rect">
            <a:avLst/>
          </a:prstGeom>
        </p:spPr>
        <p:txBody>
          <a:bodyPr anchor="ctr"/>
          <a:lstStyle>
            <a:lvl1pPr marL="0" indent="0" algn="ctr">
              <a:buNone/>
              <a:defRPr/>
            </a:lvl1pPr>
          </a:lstStyle>
          <a:p>
            <a:endParaRPr lang="pt-PT"/>
          </a:p>
        </p:txBody>
      </p:sp>
      <p:sp>
        <p:nvSpPr>
          <p:cNvPr id="23"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a:lvl1pPr>
            <a:lvl2pPr algn="ctr">
              <a:defRPr/>
            </a:lvl2pPr>
            <a:lvl3pPr algn="ctr">
              <a:defRPr/>
            </a:lvl3pPr>
            <a:lvl4pPr algn="ctr">
              <a:defRPr/>
            </a:lvl4pPr>
            <a:lvl5pPr algn="ctr">
              <a:defRPr/>
            </a:lvl5pPr>
          </a:lstStyle>
          <a:p>
            <a:pPr lvl="0"/>
            <a:r>
              <a:rPr lang="en-US" dirty="0"/>
              <a:t>Click to insert text</a:t>
            </a:r>
          </a:p>
        </p:txBody>
      </p:sp>
      <p:sp>
        <p:nvSpPr>
          <p:cNvPr id="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932881909"/>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10508547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endParaRPr lang="pt-PT"/>
          </a:p>
        </p:txBody>
      </p:sp>
      <p:sp>
        <p:nvSpPr>
          <p:cNvPr id="14" name="Text Placeholder 29">
            <a:extLst>
              <a:ext uri="{FF2B5EF4-FFF2-40B4-BE49-F238E27FC236}">
                <a16:creationId xmlns:a16="http://schemas.microsoft.com/office/drawing/2014/main"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endParaRPr lang="pt-PT"/>
          </a:p>
        </p:txBody>
      </p:sp>
      <p:sp>
        <p:nvSpPr>
          <p:cNvPr id="9" name="Title Placeholder 1">
            <a:extLst>
              <a:ext uri="{FF2B5EF4-FFF2-40B4-BE49-F238E27FC236}">
                <a16:creationId xmlns:a16="http://schemas.microsoft.com/office/drawing/2014/main" id="{552BBB0A-405D-419D-8BD5-EC8D9F84B795}"/>
              </a:ext>
            </a:extLst>
          </p:cNvPr>
          <p:cNvSpPr txBox="1">
            <a:spLocks/>
          </p:cNvSpPr>
          <p:nvPr userDrawn="1"/>
        </p:nvSpPr>
        <p:spPr>
          <a:xfrm>
            <a:off x="407988" y="404813"/>
            <a:ext cx="10944596"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2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78950663"/>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F7E5A44-800E-4E01-9E39-BE8EDB371110}"/>
              </a:ext>
            </a:extLst>
          </p:cNvPr>
          <p:cNvSpPr/>
          <p:nvPr userDrawn="1"/>
        </p:nvSpPr>
        <p:spPr>
          <a:xfrm>
            <a:off x="6687257"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7079039" y="1423736"/>
            <a:ext cx="4704974" cy="2801255"/>
          </a:xfrm>
          <a:prstGeom prst="rect">
            <a:avLst/>
          </a:prstGeom>
        </p:spPr>
        <p:txBody>
          <a:bodyPr vert="horz" lIns="0" tIns="0" rIns="0" bIns="0" rtlCol="0">
            <a:noAutofit/>
          </a:bodyPr>
          <a:lstStyle>
            <a:lvl1pPr>
              <a:defRPr lang="en-US" sz="1400" dirty="0"/>
            </a:lvl1pPr>
          </a:lstStyle>
          <a:p>
            <a:pPr lvl="0">
              <a:lnSpc>
                <a:spcPts val="1600"/>
              </a:lnSpc>
              <a:spcAft>
                <a:spcPts val="0"/>
              </a:spcAft>
            </a:pPr>
            <a:r>
              <a:rPr lang="en-US" dirty="0"/>
              <a:t>Click to insert text</a:t>
            </a:r>
          </a:p>
        </p:txBody>
      </p:sp>
      <p:sp>
        <p:nvSpPr>
          <p:cNvPr id="24"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8062158" y="5568661"/>
            <a:ext cx="2567742" cy="333830"/>
          </a:xfrm>
          <a:prstGeom prst="rect">
            <a:avLst/>
          </a:prstGeom>
        </p:spPr>
        <p:txBody>
          <a:bodyPr anchor="ctr">
            <a:noAutofit/>
          </a:bodyPr>
          <a:lstStyle>
            <a:lvl1pPr marL="0" indent="0" algn="ctr">
              <a:lnSpc>
                <a:spcPts val="1600"/>
              </a:lnSpc>
              <a:spcBef>
                <a:spcPts val="0"/>
              </a:spcBef>
              <a:buNone/>
              <a:defRPr sz="1400" b="1">
                <a:solidFill>
                  <a:schemeClr val="accent2"/>
                </a:solidFill>
              </a:defRPr>
            </a:lvl1pPr>
            <a:lvl2pPr algn="ctr">
              <a:defRPr/>
            </a:lvl2pPr>
            <a:lvl3pPr algn="ctr">
              <a:defRPr/>
            </a:lvl3pPr>
            <a:lvl4pPr algn="ctr">
              <a:defRPr/>
            </a:lvl4pPr>
            <a:lvl5pPr algn="ctr">
              <a:defRPr/>
            </a:lvl5pPr>
          </a:lstStyle>
          <a:p>
            <a:pPr lvl="0"/>
            <a:r>
              <a:rPr lang="en-US" dirty="0"/>
              <a:t>Insert text data</a:t>
            </a:r>
          </a:p>
        </p:txBody>
      </p:sp>
      <p:sp>
        <p:nvSpPr>
          <p:cNvPr id="26"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8062156" y="4581128"/>
            <a:ext cx="2567744" cy="983347"/>
          </a:xfrm>
          <a:prstGeom prst="rect">
            <a:avLst/>
          </a:prstGeom>
        </p:spPr>
        <p:txBody>
          <a:bodyPr anchor="ctr">
            <a:noAutofit/>
          </a:bodyPr>
          <a:lstStyle>
            <a:lvl1pPr marL="0" indent="0" algn="ctr">
              <a:lnSpc>
                <a:spcPts val="3200"/>
              </a:lnSpc>
              <a:spcBef>
                <a:spcPts val="0"/>
              </a:spcBef>
              <a:spcAft>
                <a:spcPts val="0"/>
              </a:spcAft>
              <a:buNone/>
              <a:defRPr sz="2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5"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07988" y="1873622"/>
            <a:ext cx="5543550" cy="3571601"/>
          </a:xfrm>
          <a:prstGeom prst="rect">
            <a:avLst/>
          </a:prstGeom>
        </p:spPr>
        <p:txBody>
          <a:bodyPr anchor="ctr"/>
          <a:lstStyle>
            <a:lvl1pPr marL="0" indent="0" algn="ctr">
              <a:buNone/>
              <a:defRPr sz="2000"/>
            </a:lvl1pPr>
          </a:lstStyle>
          <a:p>
            <a:endParaRPr lang="pt-PT"/>
          </a:p>
        </p:txBody>
      </p:sp>
      <p:sp>
        <p:nvSpPr>
          <p:cNvPr id="17" name="Text Placeholder 29">
            <a:extLst>
              <a:ext uri="{FF2B5EF4-FFF2-40B4-BE49-F238E27FC236}">
                <a16:creationId xmlns:a16="http://schemas.microsoft.com/office/drawing/2014/main" id="{DC134CF2-DCA0-414B-81CC-1ED54BE2F760}"/>
              </a:ext>
            </a:extLst>
          </p:cNvPr>
          <p:cNvSpPr>
            <a:spLocks noGrp="1"/>
          </p:cNvSpPr>
          <p:nvPr>
            <p:ph type="body" sz="quarter" idx="47"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2" name="Text Placeholder 4">
            <a:extLst>
              <a:ext uri="{FF2B5EF4-FFF2-40B4-BE49-F238E27FC236}">
                <a16:creationId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Tree>
    <p:extLst>
      <p:ext uri="{BB962C8B-B14F-4D97-AF65-F5344CB8AC3E}">
        <p14:creationId xmlns:p14="http://schemas.microsoft.com/office/powerpoint/2010/main" val="38983366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id="{DE5ADCF6-0F9C-4198-AF3A-A4ABB710EACA}"/>
              </a:ext>
            </a:extLst>
          </p:cNvPr>
          <p:cNvSpPr>
            <a:spLocks noGrp="1"/>
          </p:cNvSpPr>
          <p:nvPr>
            <p:ph type="tbl" sz="quarter" idx="10"/>
          </p:nvPr>
        </p:nvSpPr>
        <p:spPr>
          <a:xfrm>
            <a:off x="407987" y="2216150"/>
            <a:ext cx="11376025" cy="4237038"/>
          </a:xfrm>
          <a:prstGeom prst="rect">
            <a:avLst/>
          </a:prstGeom>
        </p:spPr>
        <p:txBody>
          <a:bodyPr anchor="ctr"/>
          <a:lstStyle>
            <a:lvl1pPr marL="0" indent="0" algn="ctr">
              <a:buNone/>
              <a:defRPr/>
            </a:lvl1pPr>
          </a:lstStyle>
          <a:p>
            <a:endParaRPr lang="pt-PT"/>
          </a:p>
        </p:txBody>
      </p:sp>
      <p:sp>
        <p:nvSpPr>
          <p:cNvPr id="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spTree>
    <p:extLst>
      <p:ext uri="{BB962C8B-B14F-4D97-AF65-F5344CB8AC3E}">
        <p14:creationId xmlns:p14="http://schemas.microsoft.com/office/powerpoint/2010/main" val="1918293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Map">
    <p:bg>
      <p:bgPr>
        <a:solidFill>
          <a:schemeClr val="bg1"/>
        </a:solidFill>
        <a:effectLst/>
      </p:bgPr>
    </p:bg>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67E21435-78AE-465F-A49A-B06594889D38}"/>
              </a:ext>
            </a:extLst>
          </p:cNvPr>
          <p:cNvSpPr/>
          <p:nvPr userDrawn="1"/>
        </p:nvSpPr>
        <p:spPr>
          <a:xfrm>
            <a:off x="9363909" y="0"/>
            <a:ext cx="282809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29">
            <a:extLst>
              <a:ext uri="{FF2B5EF4-FFF2-40B4-BE49-F238E27FC236}">
                <a16:creationId xmlns:a16="http://schemas.microsoft.com/office/drawing/2014/main" id="{09D3E9EE-291C-4AC0-8D9C-7436CFEE0FB8}"/>
              </a:ext>
            </a:extLst>
          </p:cNvPr>
          <p:cNvSpPr>
            <a:spLocks noGrp="1"/>
          </p:cNvSpPr>
          <p:nvPr>
            <p:ph type="body" sz="quarter" idx="42" hasCustomPrompt="1"/>
          </p:nvPr>
        </p:nvSpPr>
        <p:spPr>
          <a:xfrm>
            <a:off x="9858635" y="2151875"/>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cxnSp>
        <p:nvCxnSpPr>
          <p:cNvPr id="6" name="Conector reto 49">
            <a:extLst>
              <a:ext uri="{FF2B5EF4-FFF2-40B4-BE49-F238E27FC236}">
                <a16:creationId xmlns:a16="http://schemas.microsoft.com/office/drawing/2014/main" id="{47863E65-2400-4211-A634-25391108062D}"/>
              </a:ext>
            </a:extLst>
          </p:cNvPr>
          <p:cNvCxnSpPr>
            <a:cxnSpLocks/>
          </p:cNvCxnSpPr>
          <p:nvPr/>
        </p:nvCxnSpPr>
        <p:spPr>
          <a:xfrm>
            <a:off x="10836130"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9">
            <a:extLst>
              <a:ext uri="{FF2B5EF4-FFF2-40B4-BE49-F238E27FC236}">
                <a16:creationId xmlns:a16="http://schemas.microsoft.com/office/drawing/2014/main" id="{637A42F6-A0B8-4DEF-AE56-7743C3C89A3A}"/>
              </a:ext>
            </a:extLst>
          </p:cNvPr>
          <p:cNvSpPr>
            <a:spLocks noGrp="1"/>
          </p:cNvSpPr>
          <p:nvPr>
            <p:ph type="body" sz="quarter" idx="43" hasCustomPrompt="1"/>
          </p:nvPr>
        </p:nvSpPr>
        <p:spPr>
          <a:xfrm>
            <a:off x="10873669" y="2151875"/>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9" name="Text Placeholder 29">
            <a:extLst>
              <a:ext uri="{FF2B5EF4-FFF2-40B4-BE49-F238E27FC236}">
                <a16:creationId xmlns:a16="http://schemas.microsoft.com/office/drawing/2014/main" id="{5D26050F-BE0E-45C7-BF16-4B401065CDD7}"/>
              </a:ext>
            </a:extLst>
          </p:cNvPr>
          <p:cNvSpPr>
            <a:spLocks noGrp="1"/>
          </p:cNvSpPr>
          <p:nvPr>
            <p:ph type="body" sz="quarter" idx="44" hasCustomPrompt="1"/>
          </p:nvPr>
        </p:nvSpPr>
        <p:spPr>
          <a:xfrm>
            <a:off x="9858635" y="2924944"/>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0" name="Text Placeholder 29">
            <a:extLst>
              <a:ext uri="{FF2B5EF4-FFF2-40B4-BE49-F238E27FC236}">
                <a16:creationId xmlns:a16="http://schemas.microsoft.com/office/drawing/2014/main" id="{DAFF5EB0-EE62-4C80-9262-D5EB89300B31}"/>
              </a:ext>
            </a:extLst>
          </p:cNvPr>
          <p:cNvSpPr>
            <a:spLocks noGrp="1"/>
          </p:cNvSpPr>
          <p:nvPr>
            <p:ph type="body" sz="quarter" idx="45" hasCustomPrompt="1"/>
          </p:nvPr>
        </p:nvSpPr>
        <p:spPr>
          <a:xfrm>
            <a:off x="10873669" y="2924944"/>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1" name="Text Placeholder 29">
            <a:extLst>
              <a:ext uri="{FF2B5EF4-FFF2-40B4-BE49-F238E27FC236}">
                <a16:creationId xmlns:a16="http://schemas.microsoft.com/office/drawing/2014/main" id="{1D2E2610-A39A-4ABB-B9B0-3E64FB2B1FD2}"/>
              </a:ext>
            </a:extLst>
          </p:cNvPr>
          <p:cNvSpPr>
            <a:spLocks noGrp="1"/>
          </p:cNvSpPr>
          <p:nvPr>
            <p:ph type="body" sz="quarter" idx="46" hasCustomPrompt="1"/>
          </p:nvPr>
        </p:nvSpPr>
        <p:spPr>
          <a:xfrm>
            <a:off x="9858635" y="3717032"/>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2" name="Text Placeholder 29">
            <a:extLst>
              <a:ext uri="{FF2B5EF4-FFF2-40B4-BE49-F238E27FC236}">
                <a16:creationId xmlns:a16="http://schemas.microsoft.com/office/drawing/2014/main" id="{7FEBB00E-E460-421E-A98D-4E1A8813E933}"/>
              </a:ext>
            </a:extLst>
          </p:cNvPr>
          <p:cNvSpPr>
            <a:spLocks noGrp="1"/>
          </p:cNvSpPr>
          <p:nvPr>
            <p:ph type="body" sz="quarter" idx="47" hasCustomPrompt="1"/>
          </p:nvPr>
        </p:nvSpPr>
        <p:spPr>
          <a:xfrm>
            <a:off x="10873669" y="3717032"/>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6" name="Text Placeholder 29">
            <a:extLst>
              <a:ext uri="{FF2B5EF4-FFF2-40B4-BE49-F238E27FC236}">
                <a16:creationId xmlns:a16="http://schemas.microsoft.com/office/drawing/2014/main" id="{FAFB67F4-E060-49A7-B606-E1DBD3BADB1E}"/>
              </a:ext>
            </a:extLst>
          </p:cNvPr>
          <p:cNvSpPr>
            <a:spLocks noGrp="1"/>
          </p:cNvSpPr>
          <p:nvPr>
            <p:ph type="body" sz="quarter" idx="48" hasCustomPrompt="1"/>
          </p:nvPr>
        </p:nvSpPr>
        <p:spPr>
          <a:xfrm>
            <a:off x="9858635" y="4521820"/>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7" name="Text Placeholder 29">
            <a:extLst>
              <a:ext uri="{FF2B5EF4-FFF2-40B4-BE49-F238E27FC236}">
                <a16:creationId xmlns:a16="http://schemas.microsoft.com/office/drawing/2014/main" id="{DB43EC2B-27E8-42E4-B1FE-B643A64496E9}"/>
              </a:ext>
            </a:extLst>
          </p:cNvPr>
          <p:cNvSpPr>
            <a:spLocks noGrp="1"/>
          </p:cNvSpPr>
          <p:nvPr>
            <p:ph type="body" sz="quarter" idx="49" hasCustomPrompt="1"/>
          </p:nvPr>
        </p:nvSpPr>
        <p:spPr>
          <a:xfrm>
            <a:off x="10873669" y="4521820"/>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8" name="Text Placeholder 29">
            <a:extLst>
              <a:ext uri="{FF2B5EF4-FFF2-40B4-BE49-F238E27FC236}">
                <a16:creationId xmlns:a16="http://schemas.microsoft.com/office/drawing/2014/main" id="{2227CA6E-59E3-4FDF-9ED6-1407D9E2902E}"/>
              </a:ext>
            </a:extLst>
          </p:cNvPr>
          <p:cNvSpPr>
            <a:spLocks noGrp="1"/>
          </p:cNvSpPr>
          <p:nvPr>
            <p:ph type="body" sz="quarter" idx="50" hasCustomPrompt="1"/>
          </p:nvPr>
        </p:nvSpPr>
        <p:spPr>
          <a:xfrm>
            <a:off x="9858635" y="5301208"/>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9" name="Text Placeholder 29">
            <a:extLst>
              <a:ext uri="{FF2B5EF4-FFF2-40B4-BE49-F238E27FC236}">
                <a16:creationId xmlns:a16="http://schemas.microsoft.com/office/drawing/2014/main" id="{05CECC09-5520-4F91-918B-395F23E6E9B7}"/>
              </a:ext>
            </a:extLst>
          </p:cNvPr>
          <p:cNvSpPr>
            <a:spLocks noGrp="1"/>
          </p:cNvSpPr>
          <p:nvPr>
            <p:ph type="body" sz="quarter" idx="51" hasCustomPrompt="1"/>
          </p:nvPr>
        </p:nvSpPr>
        <p:spPr>
          <a:xfrm>
            <a:off x="10873669" y="5301208"/>
            <a:ext cx="917885" cy="439923"/>
          </a:xfrm>
          <a:prstGeom prst="rect">
            <a:avLst/>
          </a:prstGeom>
        </p:spPr>
        <p:txBody>
          <a:bodyPr>
            <a:noAutofit/>
          </a:bodyPr>
          <a:lstStyle>
            <a:lvl1pPr marL="0" indent="0" algn="ctr">
              <a:lnSpc>
                <a:spcPct val="1000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8"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9"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20"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18141032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C2900546-43C2-48AA-9FD6-CFB7317713BE}"/>
              </a:ext>
            </a:extLst>
          </p:cNvPr>
          <p:cNvSpPr/>
          <p:nvPr userDrawn="1"/>
        </p:nvSpPr>
        <p:spPr>
          <a:xfrm>
            <a:off x="7118236"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endParaRPr lang="pt-PT"/>
          </a:p>
        </p:txBody>
      </p:sp>
      <p:sp>
        <p:nvSpPr>
          <p:cNvPr id="11"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20"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id="{C2900546-43C2-48AA-9FD6-CFB7317713BE}"/>
              </a:ext>
            </a:extLst>
          </p:cNvPr>
          <p:cNvSpPr/>
          <p:nvPr userDrawn="1"/>
        </p:nvSpPr>
        <p:spPr>
          <a:xfrm>
            <a:off x="1285761"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endParaRPr lang="pt-PT"/>
          </a:p>
        </p:txBody>
      </p:sp>
      <p:pic>
        <p:nvPicPr>
          <p:cNvPr id="2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7263916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 with Charts">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050C72D0-5CFE-422E-AABA-2AE737D2B6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6311901" y="300730"/>
            <a:ext cx="5880099" cy="6557270"/>
          </a:xfrm>
          <a:prstGeom prst="rect">
            <a:avLst/>
          </a:prstGeom>
        </p:spPr>
      </p:pic>
      <p:sp>
        <p:nvSpPr>
          <p:cNvPr id="17"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7752183" y="4437112"/>
            <a:ext cx="4031829" cy="1224136"/>
          </a:xfrm>
          <a:prstGeom prst="rect">
            <a:avLst/>
          </a:prstGeom>
        </p:spPr>
        <p:txBody>
          <a:bodyPr>
            <a:noAutofit/>
          </a:bodyPr>
          <a:lstStyle>
            <a:lvl1pPr algn="r">
              <a:lnSpc>
                <a:spcPts val="18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6" name="Table Placeholder 15">
            <a:extLst>
              <a:ext uri="{FF2B5EF4-FFF2-40B4-BE49-F238E27FC236}">
                <a16:creationId xmlns:a16="http://schemas.microsoft.com/office/drawing/2014/main" id="{F5F8DF03-3900-491E-B8AF-F0C6BE50D853}"/>
              </a:ext>
            </a:extLst>
          </p:cNvPr>
          <p:cNvSpPr>
            <a:spLocks noGrp="1"/>
          </p:cNvSpPr>
          <p:nvPr>
            <p:ph type="tbl" sz="quarter" idx="11"/>
          </p:nvPr>
        </p:nvSpPr>
        <p:spPr>
          <a:xfrm>
            <a:off x="407989" y="1989287"/>
            <a:ext cx="5543550" cy="4463901"/>
          </a:xfrm>
          <a:prstGeom prst="rect">
            <a:avLst/>
          </a:prstGeom>
        </p:spPr>
        <p:txBody>
          <a:bodyPr>
            <a:normAutofit/>
          </a:bodyPr>
          <a:lstStyle>
            <a:lvl1pPr>
              <a:defRPr sz="1600"/>
            </a:lvl1pPr>
          </a:lstStyle>
          <a:p>
            <a:endParaRPr lang="pt-PT" dirty="0"/>
          </a:p>
        </p:txBody>
      </p:sp>
      <p:sp>
        <p:nvSpPr>
          <p:cNvPr id="14" name="Text Placeholder 7">
            <a:extLst>
              <a:ext uri="{FF2B5EF4-FFF2-40B4-BE49-F238E27FC236}">
                <a16:creationId xmlns:a16="http://schemas.microsoft.com/office/drawing/2014/main" id="{0339BEFE-9642-4BFF-AA21-D95E4DB03155}"/>
              </a:ext>
            </a:extLst>
          </p:cNvPr>
          <p:cNvSpPr>
            <a:spLocks noGrp="1"/>
          </p:cNvSpPr>
          <p:nvPr>
            <p:ph type="body" sz="quarter" idx="10" hasCustomPrompt="1"/>
          </p:nvPr>
        </p:nvSpPr>
        <p:spPr>
          <a:xfrm>
            <a:off x="407988" y="1412876"/>
            <a:ext cx="5543549" cy="431948"/>
          </a:xfrm>
          <a:prstGeom prst="rect">
            <a:avLst/>
          </a:prstGeom>
        </p:spPr>
        <p:txBody>
          <a:bodyPr>
            <a:noAutofit/>
          </a:bodyPr>
          <a:lstStyle>
            <a:lvl1pPr>
              <a:lnSpc>
                <a:spcPts val="2200"/>
              </a:lnSpc>
              <a:defRPr sz="1800" b="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subtitle</a:t>
            </a:r>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4"/>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72257131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0E9540A7-856A-4CD5-AC53-42094C6AD99E}"/>
              </a:ext>
            </a:extLst>
          </p:cNvPr>
          <p:cNvSpPr>
            <a:spLocks noGrp="1"/>
          </p:cNvSpPr>
          <p:nvPr>
            <p:ph type="body" sz="quarter" idx="10" hasCustomPrompt="1"/>
          </p:nvPr>
        </p:nvSpPr>
        <p:spPr>
          <a:xfrm>
            <a:off x="407988" y="1412875"/>
            <a:ext cx="5543996"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id="{5727DAAA-D326-4188-801E-6DBE4923ED0B}"/>
              </a:ext>
            </a:extLst>
          </p:cNvPr>
          <p:cNvSpPr>
            <a:spLocks noGrp="1"/>
          </p:cNvSpPr>
          <p:nvPr>
            <p:ph type="dgm" sz="quarter" idx="11"/>
          </p:nvPr>
        </p:nvSpPr>
        <p:spPr>
          <a:xfrm>
            <a:off x="407987" y="3213075"/>
            <a:ext cx="9079721" cy="648072"/>
          </a:xfrm>
          <a:prstGeom prst="rect">
            <a:avLst/>
          </a:prstGeom>
        </p:spPr>
        <p:txBody>
          <a:bodyPr anchor="ctr"/>
          <a:lstStyle>
            <a:lvl1pPr algn="ctr">
              <a:defRPr/>
            </a:lvl1pPr>
          </a:lstStyle>
          <a:p>
            <a:endParaRPr lang="pt-PT"/>
          </a:p>
        </p:txBody>
      </p:sp>
      <p:sp>
        <p:nvSpPr>
          <p:cNvPr id="10"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642993" y="308991"/>
            <a:ext cx="6858002" cy="6240019"/>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5832475"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07989"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510006"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6612023"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4876611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C8E1C88-76B5-4FBC-8619-E07B3932BC02}"/>
              </a:ext>
            </a:extLst>
          </p:cNvPr>
          <p:cNvSpPr/>
          <p:nvPr userDrawn="1"/>
        </p:nvSpPr>
        <p:spPr>
          <a:xfrm>
            <a:off x="49384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id="{AC8E1C88-76B5-4FBC-8619-E07B3932BC02}"/>
              </a:ext>
            </a:extLst>
          </p:cNvPr>
          <p:cNvSpPr/>
          <p:nvPr userDrawn="1"/>
        </p:nvSpPr>
        <p:spPr>
          <a:xfrm>
            <a:off x="2813183"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id="{AC8E1C88-76B5-4FBC-8619-E07B3932BC02}"/>
              </a:ext>
            </a:extLst>
          </p:cNvPr>
          <p:cNvSpPr/>
          <p:nvPr userDrawn="1"/>
        </p:nvSpPr>
        <p:spPr>
          <a:xfrm>
            <a:off x="5132521"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id="{AC8E1C88-76B5-4FBC-8619-E07B3932BC02}"/>
              </a:ext>
            </a:extLst>
          </p:cNvPr>
          <p:cNvSpPr/>
          <p:nvPr userDrawn="1"/>
        </p:nvSpPr>
        <p:spPr>
          <a:xfrm>
            <a:off x="977119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id="{A10BB4E8-B0D3-4206-AC65-A368938B1CD5}"/>
              </a:ext>
            </a:extLst>
          </p:cNvPr>
          <p:cNvSpPr>
            <a:spLocks noGrp="1"/>
          </p:cNvSpPr>
          <p:nvPr>
            <p:ph type="body" sz="quarter" idx="15" hasCustomPrompt="1"/>
          </p:nvPr>
        </p:nvSpPr>
        <p:spPr>
          <a:xfrm>
            <a:off x="10317717"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6"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id="{86304B18-FE01-4A88-AA17-A2A76AB7E3F6}"/>
              </a:ext>
            </a:extLst>
          </p:cNvPr>
          <p:cNvSpPr/>
          <p:nvPr userDrawn="1"/>
        </p:nvSpPr>
        <p:spPr>
          <a:xfrm>
            <a:off x="40990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id="{86304B18-FE01-4A88-AA17-A2A76AB7E3F6}"/>
              </a:ext>
            </a:extLst>
          </p:cNvPr>
          <p:cNvSpPr/>
          <p:nvPr userDrawn="1"/>
        </p:nvSpPr>
        <p:spPr>
          <a:xfrm>
            <a:off x="2729247"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id="{86304B18-FE01-4A88-AA17-A2A76AB7E3F6}"/>
              </a:ext>
            </a:extLst>
          </p:cNvPr>
          <p:cNvSpPr/>
          <p:nvPr userDrawn="1"/>
        </p:nvSpPr>
        <p:spPr>
          <a:xfrm>
            <a:off x="5048585"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id="{86304B18-FE01-4A88-AA17-A2A76AB7E3F6}"/>
              </a:ext>
            </a:extLst>
          </p:cNvPr>
          <p:cNvSpPr/>
          <p:nvPr userDrawn="1"/>
        </p:nvSpPr>
        <p:spPr>
          <a:xfrm>
            <a:off x="7367923"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id="{86304B18-FE01-4A88-AA17-A2A76AB7E3F6}"/>
              </a:ext>
            </a:extLst>
          </p:cNvPr>
          <p:cNvSpPr/>
          <p:nvPr userDrawn="1"/>
        </p:nvSpPr>
        <p:spPr>
          <a:xfrm>
            <a:off x="968725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9384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2813183"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512837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7451859"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977119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id="{A10BB4E8-B0D3-4206-AC65-A368938B1CD5}"/>
              </a:ext>
            </a:extLst>
          </p:cNvPr>
          <p:cNvSpPr>
            <a:spLocks noGrp="1"/>
          </p:cNvSpPr>
          <p:nvPr>
            <p:ph type="body" sz="quarter" idx="37" hasCustomPrompt="1"/>
          </p:nvPr>
        </p:nvSpPr>
        <p:spPr>
          <a:xfrm>
            <a:off x="8013451"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id="{A10BB4E8-B0D3-4206-AC65-A368938B1CD5}"/>
              </a:ext>
            </a:extLst>
          </p:cNvPr>
          <p:cNvSpPr>
            <a:spLocks noGrp="1"/>
          </p:cNvSpPr>
          <p:nvPr>
            <p:ph type="body" sz="quarter" idx="38" hasCustomPrompt="1"/>
          </p:nvPr>
        </p:nvSpPr>
        <p:spPr>
          <a:xfrm>
            <a:off x="338503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id="{A10BB4E8-B0D3-4206-AC65-A368938B1CD5}"/>
              </a:ext>
            </a:extLst>
          </p:cNvPr>
          <p:cNvSpPr>
            <a:spLocks noGrp="1"/>
          </p:cNvSpPr>
          <p:nvPr>
            <p:ph type="body" sz="quarter" idx="39" hasCustomPrompt="1"/>
          </p:nvPr>
        </p:nvSpPr>
        <p:spPr>
          <a:xfrm>
            <a:off x="568385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id="{A10BB4E8-B0D3-4206-AC65-A368938B1CD5}"/>
              </a:ext>
            </a:extLst>
          </p:cNvPr>
          <p:cNvSpPr>
            <a:spLocks noGrp="1"/>
          </p:cNvSpPr>
          <p:nvPr>
            <p:ph type="body" sz="quarter" idx="40" hasCustomPrompt="1"/>
          </p:nvPr>
        </p:nvSpPr>
        <p:spPr>
          <a:xfrm>
            <a:off x="1055439"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0505929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id="{1E08DC1B-108C-412B-A626-540BE73C4340}"/>
              </a:ext>
            </a:extLst>
          </p:cNvPr>
          <p:cNvSpPr>
            <a:spLocks noGrp="1"/>
          </p:cNvSpPr>
          <p:nvPr>
            <p:ph type="tbl" sz="quarter" idx="10"/>
          </p:nvPr>
        </p:nvSpPr>
        <p:spPr>
          <a:xfrm>
            <a:off x="407987" y="1412876"/>
            <a:ext cx="11376025" cy="5025502"/>
          </a:xfrm>
          <a:prstGeom prst="rect">
            <a:avLst/>
          </a:prstGeom>
        </p:spPr>
        <p:txBody>
          <a:bodyPr anchor="ctr"/>
          <a:lstStyle>
            <a:lvl1pPr algn="ctr">
              <a:defRPr/>
            </a:lvl1pPr>
          </a:lstStyle>
          <a:p>
            <a:endParaRPr lang="pt-PT" dirty="0"/>
          </a:p>
        </p:txBody>
      </p:sp>
      <p:sp>
        <p:nvSpPr>
          <p:cNvPr id="14" name="Text Placeholder 7">
            <a:extLst>
              <a:ext uri="{FF2B5EF4-FFF2-40B4-BE49-F238E27FC236}">
                <a16:creationId xmlns:a16="http://schemas.microsoft.com/office/drawing/2014/main" id="{99A30C51-1672-4ACB-991E-1DEFEB062939}"/>
              </a:ext>
            </a:extLst>
          </p:cNvPr>
          <p:cNvSpPr>
            <a:spLocks noGrp="1"/>
          </p:cNvSpPr>
          <p:nvPr>
            <p:ph type="body" sz="quarter" idx="12" hasCustomPrompt="1"/>
          </p:nvPr>
        </p:nvSpPr>
        <p:spPr>
          <a:xfrm>
            <a:off x="10165024" y="935008"/>
            <a:ext cx="539488"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15" name="Text Placeholder 7">
            <a:extLst>
              <a:ext uri="{FF2B5EF4-FFF2-40B4-BE49-F238E27FC236}">
                <a16:creationId xmlns:a16="http://schemas.microsoft.com/office/drawing/2014/main" id="{3525EEC2-FFBF-4483-A73D-90EE69AE939C}"/>
              </a:ext>
            </a:extLst>
          </p:cNvPr>
          <p:cNvSpPr>
            <a:spLocks noGrp="1"/>
          </p:cNvSpPr>
          <p:nvPr>
            <p:ph type="body" sz="quarter" idx="13" hasCustomPrompt="1"/>
          </p:nvPr>
        </p:nvSpPr>
        <p:spPr>
          <a:xfrm>
            <a:off x="10813096" y="935008"/>
            <a:ext cx="539488" cy="216024"/>
          </a:xfrm>
          <a:prstGeom prst="rect">
            <a:avLst/>
          </a:prstGeom>
        </p:spPr>
        <p:txBody>
          <a:bodyPr anchor="ctr">
            <a:noAutofit/>
          </a:bodyPr>
          <a:lstStyle>
            <a:lvl1pPr algn="ctr">
              <a:lnSpc>
                <a:spcPct val="100000"/>
              </a:lnSpc>
              <a:defRPr sz="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text</a:t>
            </a:r>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7926001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4298310" y="-1588"/>
            <a:ext cx="7893690" cy="6859588"/>
          </a:xfrm>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407988" y="3068960"/>
            <a:ext cx="4103688"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407988" y="4040163"/>
            <a:ext cx="4103688"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3711990470"/>
      </p:ext>
    </p:extLst>
  </p:cSld>
  <p:clrMapOvr>
    <a:masterClrMapping/>
  </p:clrMapOvr>
  <p:extLst>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E8BAF-0F6A-4E74-93FB-27693AB439A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70D4D0B-F7DD-428D-8A91-81336DB6939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A2D7F92-0CD8-4616-9A3D-2722521C5C61}"/>
              </a:ext>
            </a:extLst>
          </p:cNvPr>
          <p:cNvSpPr>
            <a:spLocks noGrp="1"/>
          </p:cNvSpPr>
          <p:nvPr>
            <p:ph type="dt" sz="half" idx="10"/>
          </p:nvPr>
        </p:nvSpPr>
        <p:spPr/>
        <p:txBody>
          <a:bodyPr/>
          <a:lstStyle/>
          <a:p>
            <a:fld id="{11E35CC7-FF03-41AD-865D-48CA4AAED558}" type="datetimeFigureOut">
              <a:rPr lang="en-US" smtClean="0"/>
              <a:t>6/15/2023</a:t>
            </a:fld>
            <a:endParaRPr lang="en-US"/>
          </a:p>
        </p:txBody>
      </p:sp>
      <p:sp>
        <p:nvSpPr>
          <p:cNvPr id="5" name="Footer Placeholder 4">
            <a:extLst>
              <a:ext uri="{FF2B5EF4-FFF2-40B4-BE49-F238E27FC236}">
                <a16:creationId xmlns:a16="http://schemas.microsoft.com/office/drawing/2014/main" id="{C8BAFFEF-37ED-41E9-8F0C-7E0E8E2192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1BF154-904F-457C-8A5A-783A981DFAE8}"/>
              </a:ext>
            </a:extLst>
          </p:cNvPr>
          <p:cNvSpPr>
            <a:spLocks noGrp="1"/>
          </p:cNvSpPr>
          <p:nvPr>
            <p:ph type="sldNum" sz="quarter" idx="12"/>
          </p:nvPr>
        </p:nvSpPr>
        <p:spPr/>
        <p:txBody>
          <a:bodyPr/>
          <a:lstStyle/>
          <a:p>
            <a:fld id="{A3EDB9A8-10EF-4116-BF8F-BF70201E12F5}" type="slidenum">
              <a:rPr lang="en-US" smtClean="0"/>
              <a:t>‹#›</a:t>
            </a:fld>
            <a:endParaRPr lang="en-US"/>
          </a:p>
        </p:txBody>
      </p:sp>
    </p:spTree>
    <p:extLst>
      <p:ext uri="{BB962C8B-B14F-4D97-AF65-F5344CB8AC3E}">
        <p14:creationId xmlns:p14="http://schemas.microsoft.com/office/powerpoint/2010/main" val="21388321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43" b="19135"/>
          <a:stretch/>
        </p:blipFill>
        <p:spPr>
          <a:xfrm flipH="1">
            <a:off x="911424" y="-3448"/>
            <a:ext cx="11299452"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5839059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5413032" y="79029"/>
            <a:ext cx="6857997" cy="6699938"/>
          </a:xfrm>
          <a:prstGeom prst="rect">
            <a:avLst/>
          </a:prstGeom>
        </p:spPr>
      </p:pic>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491419" y="164829"/>
            <a:ext cx="424356" cy="459624"/>
          </a:xfrm>
          <a:prstGeom prst="rect">
            <a:avLst/>
          </a:prstGeom>
        </p:spPr>
      </p:pic>
      <p:cxnSp>
        <p:nvCxnSpPr>
          <p:cNvPr id="1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6"/>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4"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58829277"/>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8" name="Retângulo 43">
            <a:extLst>
              <a:ext uri="{FF2B5EF4-FFF2-40B4-BE49-F238E27FC236}">
                <a16:creationId xmlns:a16="http://schemas.microsoft.com/office/drawing/2014/main" id="{834ADCB4-BFB1-450D-8F6D-64217F4CD92C}"/>
              </a:ext>
            </a:extLst>
          </p:cNvPr>
          <p:cNvSpPr/>
          <p:nvPr userDrawn="1"/>
        </p:nvSpPr>
        <p:spPr>
          <a:xfrm>
            <a:off x="949665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Tree>
    <p:extLst>
      <p:ext uri="{BB962C8B-B14F-4D97-AF65-F5344CB8AC3E}">
        <p14:creationId xmlns:p14="http://schemas.microsoft.com/office/powerpoint/2010/main" val="31240395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2.xml"/><Relationship Id="rId1" Type="http://schemas.openxmlformats.org/officeDocument/2006/relationships/slideLayout" Target="../slideLayouts/slideLayout7.xml"/><Relationship Id="rId4" Type="http://schemas.openxmlformats.org/officeDocument/2006/relationships/image" Target="../media/image4.sv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theme" Target="../theme/theme3.xml"/><Relationship Id="rId3" Type="http://schemas.openxmlformats.org/officeDocument/2006/relationships/slideLayout" Target="../slideLayouts/slideLayout10.xml"/><Relationship Id="rId21" Type="http://schemas.openxmlformats.org/officeDocument/2006/relationships/slideLayout" Target="../slideLayouts/slideLayout28.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slideLayout" Target="../slideLayouts/slideLayout32.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28" Type="http://schemas.openxmlformats.org/officeDocument/2006/relationships/image" Target="../media/image4.svg"/><Relationship Id="rId10" Type="http://schemas.openxmlformats.org/officeDocument/2006/relationships/slideLayout" Target="../slideLayouts/slideLayout17.xml"/><Relationship Id="rId19" Type="http://schemas.openxmlformats.org/officeDocument/2006/relationships/slideLayout" Target="../slideLayouts/slideLayout26.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image" Target="../media/image3.pn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heme" Target="../theme/theme4.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image" Target="../media/image4.sv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2939046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5" r:id="rId4"/>
    <p:sldLayoutId id="2147483666" r:id="rId5"/>
    <p:sldLayoutId id="2147483667" r:id="rId6"/>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3068" y="418452"/>
            <a:ext cx="11083532" cy="859536"/>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934593340"/>
      </p:ext>
    </p:extLst>
  </p:cSld>
  <p:clrMap bg1="lt1" tx1="dk1" bg2="lt2" tx2="dk2" accent1="accent1" accent2="accent2" accent3="accent3" accent4="accent4" accent5="accent5" accent6="accent6" hlink="hlink" folHlink="folHlink"/>
  <p:sldLayoutIdLst>
    <p:sldLayoutId id="2147483669" r:id="rId1"/>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7">
            <a:extLst>
              <a:ext uri="{96DAC541-7B7A-43D3-8B79-37D633B846F1}">
                <asvg:svgBlip xmlns:asvg="http://schemas.microsoft.com/office/drawing/2016/SVG/main" r:embed="rId28"/>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userDrawn="1"/>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2110224417"/>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716" r:id="rId4"/>
    <p:sldLayoutId id="2147483718" r:id="rId5"/>
    <p:sldLayoutId id="2147483717" r:id="rId6"/>
    <p:sldLayoutId id="2147483677" r:id="rId7"/>
    <p:sldLayoutId id="2147483678" r:id="rId8"/>
    <p:sldLayoutId id="2147483679" r:id="rId9"/>
    <p:sldLayoutId id="2147483680" r:id="rId10"/>
    <p:sldLayoutId id="2147483681"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 id="2147483692" r:id="rId21"/>
    <p:sldLayoutId id="2147483693" r:id="rId22"/>
    <p:sldLayoutId id="2147483694" r:id="rId23"/>
    <p:sldLayoutId id="2147483695" r:id="rId24"/>
    <p:sldLayoutId id="2147483715" r:id="rId25"/>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8">
            <a:extLst>
              <a:ext uri="{96DAC541-7B7A-43D3-8B79-37D633B846F1}">
                <asvg:svgBlip xmlns:asvg="http://schemas.microsoft.com/office/drawing/2016/SVG/main" r:embed="rId19"/>
              </a:ext>
            </a:extLst>
          </a:blip>
          <a:srcRect l="81836" t="-4713" b="16530"/>
          <a:stretch/>
        </p:blipFill>
        <p:spPr>
          <a:xfrm>
            <a:off x="11547793" y="188640"/>
            <a:ext cx="424356" cy="459624"/>
          </a:xfrm>
          <a:prstGeom prst="rect">
            <a:avLst/>
          </a:prstGeom>
        </p:spPr>
      </p:pic>
      <p:sp>
        <p:nvSpPr>
          <p:cNvPr id="14"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sp>
        <p:nvSpPr>
          <p:cNvPr id="15"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Rectangle 5"/>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7" name="Rectangle 6"/>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8" name="Rectangle 7"/>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9" name="Rectangle 8"/>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7" name="Rectangle 16"/>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8" name="Rectangle 17"/>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9" name="Rectangle 18"/>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20" name="Rectangle 19"/>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21" name="Rectangle 20"/>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22" name="Rectangle 21"/>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3" name="Rectangle 22"/>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4" name="Rectangle 23"/>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5" name="Rectangle 24"/>
          <p:cNvSpPr/>
          <p:nvPr userDrawn="1"/>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6" name="Rectangle 25"/>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7" name="Rectangle 26"/>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8" name="Rectangle 27"/>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9" name="Rectangle 28"/>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30" name="Rectangle 29"/>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31" name="Rectangle 30"/>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135477015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Lst>
  <p:txStyles>
    <p:titleStyle>
      <a:lvl1pPr algn="l" defTabSz="914400" rtl="0" eaLnBrk="1" latinLnBrk="0" hangingPunct="1">
        <a:lnSpc>
          <a:spcPct val="900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1775"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63550" indent="-231775"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82625" indent="-219075"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hyperlink" Target="https://azurestack.blog/2019/02/azure-stack-availability-sets/" TargetMode="Externa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7CF0826-66D2-4267-AEF4-7A25E4B2424B}"/>
              </a:ext>
            </a:extLst>
          </p:cNvPr>
          <p:cNvSpPr>
            <a:spLocks noGrp="1"/>
          </p:cNvSpPr>
          <p:nvPr>
            <p:ph type="body" sz="quarter" idx="10"/>
          </p:nvPr>
        </p:nvSpPr>
        <p:spPr/>
        <p:txBody>
          <a:bodyPr>
            <a:normAutofit/>
          </a:bodyPr>
          <a:lstStyle/>
          <a:p>
            <a:r>
              <a:rPr lang="en-US" sz="3000" dirty="0"/>
              <a:t>Azure Fundamentals</a:t>
            </a:r>
          </a:p>
        </p:txBody>
      </p:sp>
    </p:spTree>
    <p:extLst>
      <p:ext uri="{BB962C8B-B14F-4D97-AF65-F5344CB8AC3E}">
        <p14:creationId xmlns:p14="http://schemas.microsoft.com/office/powerpoint/2010/main" val="29606431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EC43AC6-7C18-4B2C-8230-6F3245C104C0}"/>
              </a:ext>
            </a:extLst>
          </p:cNvPr>
          <p:cNvSpPr txBox="1"/>
          <p:nvPr/>
        </p:nvSpPr>
        <p:spPr>
          <a:xfrm>
            <a:off x="1255611" y="470275"/>
            <a:ext cx="8681987" cy="584775"/>
          </a:xfrm>
          <a:prstGeom prst="rect">
            <a:avLst/>
          </a:prstGeom>
          <a:noFill/>
        </p:spPr>
        <p:txBody>
          <a:bodyPr wrap="square" rtlCol="0">
            <a:spAutoFit/>
          </a:bodyPr>
          <a:lstStyle/>
          <a:p>
            <a:pPr algn="l"/>
            <a:r>
              <a:rPr lang="en-US" sz="3200" b="1" i="0" dirty="0">
                <a:solidFill>
                  <a:srgbClr val="161616"/>
                </a:solidFill>
                <a:effectLst/>
                <a:latin typeface="Segoe UI" panose="020B0502040204020203" pitchFamily="34" charset="0"/>
              </a:rPr>
              <a:t>Azure management infrastructure</a:t>
            </a:r>
          </a:p>
        </p:txBody>
      </p:sp>
      <p:sp>
        <p:nvSpPr>
          <p:cNvPr id="4" name="TextBox 3"/>
          <p:cNvSpPr txBox="1"/>
          <p:nvPr/>
        </p:nvSpPr>
        <p:spPr>
          <a:xfrm>
            <a:off x="715617" y="1364974"/>
            <a:ext cx="10376453" cy="830997"/>
          </a:xfrm>
          <a:prstGeom prst="rect">
            <a:avLst/>
          </a:prstGeom>
          <a:noFill/>
        </p:spPr>
        <p:txBody>
          <a:bodyPr wrap="square" rtlCol="0">
            <a:spAutoFit/>
          </a:bodyPr>
          <a:lstStyle/>
          <a:p>
            <a:pPr marL="342900" indent="-342900" algn="just">
              <a:buFont typeface="Arial" panose="020B0604020202020204" pitchFamily="34" charset="0"/>
              <a:buChar char="•"/>
            </a:pPr>
            <a:r>
              <a:rPr lang="en-US" sz="2400" b="0" i="0" dirty="0">
                <a:solidFill>
                  <a:srgbClr val="161616"/>
                </a:solidFill>
                <a:effectLst/>
                <a:latin typeface="Segoe UI" panose="020B0502040204020203" pitchFamily="34" charset="0"/>
              </a:rPr>
              <a:t>The management infrastructure includes Azure resources and resource groups, subscriptions, and accounts.</a:t>
            </a:r>
            <a:endParaRPr lang="en-US" sz="2400" dirty="0"/>
          </a:p>
        </p:txBody>
      </p:sp>
    </p:spTree>
    <p:extLst>
      <p:ext uri="{BB962C8B-B14F-4D97-AF65-F5344CB8AC3E}">
        <p14:creationId xmlns:p14="http://schemas.microsoft.com/office/powerpoint/2010/main" val="9803561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EC43AC6-7C18-4B2C-8230-6F3245C104C0}"/>
              </a:ext>
            </a:extLst>
          </p:cNvPr>
          <p:cNvSpPr txBox="1"/>
          <p:nvPr/>
        </p:nvSpPr>
        <p:spPr>
          <a:xfrm>
            <a:off x="577516" y="151776"/>
            <a:ext cx="8681987" cy="584775"/>
          </a:xfrm>
          <a:prstGeom prst="rect">
            <a:avLst/>
          </a:prstGeom>
          <a:noFill/>
        </p:spPr>
        <p:txBody>
          <a:bodyPr wrap="square" rtlCol="0">
            <a:spAutoFit/>
          </a:bodyPr>
          <a:lstStyle/>
          <a:p>
            <a:pPr algn="l"/>
            <a:r>
              <a:rPr lang="en-US" sz="3200" b="1" i="0" dirty="0">
                <a:solidFill>
                  <a:srgbClr val="161616"/>
                </a:solidFill>
                <a:effectLst/>
                <a:latin typeface="Segoe UI" panose="020B0502040204020203" pitchFamily="34" charset="0"/>
              </a:rPr>
              <a:t>Azure resources and resource groups</a:t>
            </a:r>
          </a:p>
        </p:txBody>
      </p:sp>
      <p:sp>
        <p:nvSpPr>
          <p:cNvPr id="4" name="TextBox 3"/>
          <p:cNvSpPr txBox="1"/>
          <p:nvPr/>
        </p:nvSpPr>
        <p:spPr>
          <a:xfrm>
            <a:off x="715617" y="1364974"/>
            <a:ext cx="10376453" cy="2677656"/>
          </a:xfrm>
          <a:prstGeom prst="rect">
            <a:avLst/>
          </a:prstGeom>
          <a:noFill/>
        </p:spPr>
        <p:txBody>
          <a:bodyPr wrap="square" rtlCol="0">
            <a:spAutoFit/>
          </a:bodyPr>
          <a:lstStyle/>
          <a:p>
            <a:pPr marL="342900" indent="-342900" algn="l">
              <a:buFont typeface="Wingdings" panose="05000000000000000000" pitchFamily="2" charset="2"/>
              <a:buChar char="Ø"/>
            </a:pPr>
            <a:r>
              <a:rPr lang="en-US" sz="2400" b="0" i="0" dirty="0">
                <a:solidFill>
                  <a:srgbClr val="161616"/>
                </a:solidFill>
                <a:effectLst/>
                <a:latin typeface="Segoe UI" panose="020B0502040204020203" pitchFamily="34" charset="0"/>
              </a:rPr>
              <a:t>A resource is the basic building block of Azure. </a:t>
            </a:r>
          </a:p>
          <a:p>
            <a:pPr marL="342900" indent="-342900" algn="l">
              <a:buFont typeface="Wingdings" panose="05000000000000000000" pitchFamily="2" charset="2"/>
              <a:buChar char="Ø"/>
            </a:pPr>
            <a:endParaRPr lang="en-US" sz="2400" dirty="0">
              <a:solidFill>
                <a:srgbClr val="161616"/>
              </a:solidFill>
              <a:latin typeface="Segoe UI" panose="020B0502040204020203" pitchFamily="34" charset="0"/>
            </a:endParaRPr>
          </a:p>
          <a:p>
            <a:pPr marL="342900" indent="-342900" algn="l">
              <a:buFont typeface="Wingdings" panose="05000000000000000000" pitchFamily="2" charset="2"/>
              <a:buChar char="Ø"/>
            </a:pPr>
            <a:r>
              <a:rPr lang="en-US" sz="2400" b="0" i="0" dirty="0">
                <a:solidFill>
                  <a:srgbClr val="161616"/>
                </a:solidFill>
                <a:effectLst/>
                <a:latin typeface="Segoe UI" panose="020B0502040204020203" pitchFamily="34" charset="0"/>
              </a:rPr>
              <a:t>Anything you create, provision, deploy, etc. is a resource. </a:t>
            </a:r>
          </a:p>
          <a:p>
            <a:pPr algn="l"/>
            <a:endParaRPr lang="en-US" sz="2400" b="0" i="0" dirty="0">
              <a:solidFill>
                <a:srgbClr val="161616"/>
              </a:solidFill>
              <a:effectLst/>
              <a:latin typeface="Segoe UI" panose="020B0502040204020203" pitchFamily="34" charset="0"/>
            </a:endParaRPr>
          </a:p>
          <a:p>
            <a:pPr marL="342900" indent="-342900" algn="l">
              <a:buFont typeface="Wingdings" panose="05000000000000000000" pitchFamily="2" charset="2"/>
              <a:buChar char="Ø"/>
            </a:pPr>
            <a:r>
              <a:rPr lang="en-US" sz="2400" b="0" i="0" dirty="0">
                <a:solidFill>
                  <a:srgbClr val="161616"/>
                </a:solidFill>
                <a:effectLst/>
                <a:latin typeface="Segoe UI" panose="020B0502040204020203" pitchFamily="34" charset="0"/>
              </a:rPr>
              <a:t>E.g. Virtual Machines (VMs), virtual networks, databases</a:t>
            </a:r>
          </a:p>
          <a:p>
            <a:br>
              <a:rPr lang="en-US" sz="2400" dirty="0"/>
            </a:br>
            <a:endParaRPr lang="en-US" sz="2400" dirty="0"/>
          </a:p>
        </p:txBody>
      </p:sp>
    </p:spTree>
    <p:extLst>
      <p:ext uri="{BB962C8B-B14F-4D97-AF65-F5344CB8AC3E}">
        <p14:creationId xmlns:p14="http://schemas.microsoft.com/office/powerpoint/2010/main" val="18550157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EC43AC6-7C18-4B2C-8230-6F3245C104C0}"/>
              </a:ext>
            </a:extLst>
          </p:cNvPr>
          <p:cNvSpPr txBox="1"/>
          <p:nvPr/>
        </p:nvSpPr>
        <p:spPr>
          <a:xfrm>
            <a:off x="577516" y="151776"/>
            <a:ext cx="8681987" cy="1077218"/>
          </a:xfrm>
          <a:prstGeom prst="rect">
            <a:avLst/>
          </a:prstGeom>
          <a:noFill/>
        </p:spPr>
        <p:txBody>
          <a:bodyPr wrap="square" rtlCol="0">
            <a:spAutoFit/>
          </a:bodyPr>
          <a:lstStyle/>
          <a:p>
            <a:r>
              <a:rPr lang="en-US" sz="3200" b="1" i="0" dirty="0">
                <a:solidFill>
                  <a:srgbClr val="161616"/>
                </a:solidFill>
                <a:effectLst/>
                <a:latin typeface="Segoe UI" panose="020B0502040204020203" pitchFamily="34" charset="0"/>
              </a:rPr>
              <a:t>Knowledge Check</a:t>
            </a:r>
          </a:p>
          <a:p>
            <a:endParaRPr lang="en-US" sz="3200" b="1" dirty="0">
              <a:solidFill>
                <a:srgbClr val="0070AD"/>
              </a:solidFill>
              <a:latin typeface="+mj-lt"/>
              <a:cs typeface="Times New Roman" panose="02020603050405020304" pitchFamily="18" charset="0"/>
            </a:endParaRPr>
          </a:p>
        </p:txBody>
      </p:sp>
      <p:sp>
        <p:nvSpPr>
          <p:cNvPr id="4" name="TextBox 3"/>
          <p:cNvSpPr txBox="1"/>
          <p:nvPr/>
        </p:nvSpPr>
        <p:spPr>
          <a:xfrm>
            <a:off x="715617" y="1312266"/>
            <a:ext cx="10376453" cy="4628960"/>
          </a:xfrm>
          <a:prstGeom prst="rect">
            <a:avLst/>
          </a:prstGeom>
          <a:noFill/>
        </p:spPr>
        <p:txBody>
          <a:bodyPr wrap="square" rtlCol="0">
            <a:spAutoFit/>
          </a:bodyPr>
          <a:lstStyle/>
          <a:p>
            <a:pPr marL="0" marR="0">
              <a:lnSpc>
                <a:spcPct val="107000"/>
              </a:lnSpc>
              <a:spcBef>
                <a:spcPts val="0"/>
              </a:spcBef>
              <a:spcAft>
                <a:spcPts val="0"/>
              </a:spcAft>
            </a:pPr>
            <a:r>
              <a:rPr lang="en-US" sz="2000" b="1" dirty="0">
                <a:solidFill>
                  <a:srgbClr val="161616"/>
                </a:solidFill>
                <a:effectLst/>
                <a:latin typeface="Times New Roman" panose="02020603050405020304" pitchFamily="18" charset="0"/>
                <a:ea typeface="Times New Roman" panose="02020603050405020304" pitchFamily="18" charset="0"/>
                <a:cs typeface="Times New Roman" panose="02020603050405020304" pitchFamily="18" charset="0"/>
              </a:rPr>
              <a:t>1. </a:t>
            </a:r>
            <a:endParaRPr lang="en-US" sz="2000" dirty="0">
              <a:effectLst/>
              <a:latin typeface="Times New Roman" panose="02020603050405020304"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2000" dirty="0">
                <a:solidFill>
                  <a:srgbClr val="161616"/>
                </a:solidFill>
                <a:effectLst/>
                <a:latin typeface="Times New Roman" panose="02020603050405020304" pitchFamily="18" charset="0"/>
                <a:ea typeface="Times New Roman" panose="02020603050405020304" pitchFamily="18" charset="0"/>
                <a:cs typeface="Times New Roman" panose="02020603050405020304" pitchFamily="18" charset="0"/>
              </a:rPr>
              <a:t>How many resource groups can a resource be in at the same time?</a:t>
            </a:r>
          </a:p>
          <a:p>
            <a:pPr marL="0" marR="0">
              <a:lnSpc>
                <a:spcPct val="107000"/>
              </a:lnSpc>
              <a:spcBef>
                <a:spcPts val="0"/>
              </a:spcBef>
              <a:spcAft>
                <a:spcPts val="800"/>
              </a:spcAft>
            </a:pPr>
            <a:r>
              <a:rPr lang="en-US" sz="2000" dirty="0">
                <a:solidFill>
                  <a:srgbClr val="161616"/>
                </a:solidFill>
                <a:latin typeface="Times New Roman" panose="02020603050405020304" pitchFamily="18" charset="0"/>
                <a:ea typeface="Calibri" panose="020F0502020204030204" pitchFamily="34" charset="0"/>
                <a:cs typeface="Times New Roman" panose="02020603050405020304" pitchFamily="18" charset="0"/>
              </a:rPr>
              <a:t>Solutions:</a:t>
            </a:r>
            <a:endParaRPr lang="en-US" sz="2000" dirty="0">
              <a:effectLst/>
              <a:latin typeface="Times New Roman" panose="02020603050405020304"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2000" dirty="0">
                <a:solidFill>
                  <a:srgbClr val="161616"/>
                </a:solidFill>
                <a:effectLst/>
                <a:latin typeface="Times New Roman" panose="02020603050405020304" pitchFamily="18" charset="0"/>
                <a:ea typeface="Times New Roman" panose="02020603050405020304" pitchFamily="18" charset="0"/>
                <a:cs typeface="Times New Roman" panose="02020603050405020304" pitchFamily="18" charset="0"/>
              </a:rPr>
              <a:t>One</a:t>
            </a:r>
            <a:endParaRPr lang="en-US" sz="2000" dirty="0">
              <a:effectLst/>
              <a:latin typeface="Times New Roman" panose="02020603050405020304"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2000" dirty="0">
                <a:solidFill>
                  <a:srgbClr val="161616"/>
                </a:solidFill>
                <a:effectLst/>
                <a:latin typeface="Times New Roman" panose="02020603050405020304" pitchFamily="18" charset="0"/>
                <a:ea typeface="Times New Roman" panose="02020603050405020304" pitchFamily="18" charset="0"/>
                <a:cs typeface="Times New Roman" panose="02020603050405020304" pitchFamily="18" charset="0"/>
              </a:rPr>
              <a:t>Two</a:t>
            </a:r>
            <a:endParaRPr lang="en-US" sz="2000" dirty="0">
              <a:effectLst/>
              <a:latin typeface="Times New Roman" panose="02020603050405020304"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2000" dirty="0">
                <a:solidFill>
                  <a:srgbClr val="161616"/>
                </a:solidFill>
                <a:effectLst/>
                <a:latin typeface="Times New Roman" panose="02020603050405020304" pitchFamily="18" charset="0"/>
                <a:ea typeface="Times New Roman" panose="02020603050405020304" pitchFamily="18" charset="0"/>
                <a:cs typeface="Times New Roman" panose="02020603050405020304" pitchFamily="18" charset="0"/>
              </a:rPr>
              <a:t>Three</a:t>
            </a:r>
            <a:endParaRPr lang="en-US" sz="2000" dirty="0">
              <a:effectLst/>
              <a:latin typeface="Times New Roman" panose="02020603050405020304"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2000" b="1" dirty="0">
                <a:solidFill>
                  <a:srgbClr val="161616"/>
                </a:solidFill>
                <a:effectLst/>
                <a:latin typeface="Times New Roman" panose="02020603050405020304" pitchFamily="18" charset="0"/>
                <a:ea typeface="Times New Roman" panose="02020603050405020304" pitchFamily="18" charset="0"/>
                <a:cs typeface="Times New Roman" panose="02020603050405020304" pitchFamily="18" charset="0"/>
              </a:rPr>
              <a:t>2. </a:t>
            </a:r>
            <a:endParaRPr lang="en-US" sz="2000" dirty="0">
              <a:effectLst/>
              <a:latin typeface="Times New Roman" panose="02020603050405020304"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2000" dirty="0">
                <a:solidFill>
                  <a:srgbClr val="161616"/>
                </a:solidFill>
                <a:effectLst/>
                <a:latin typeface="Times New Roman" panose="02020603050405020304" pitchFamily="18" charset="0"/>
                <a:ea typeface="Times New Roman" panose="02020603050405020304" pitchFamily="18" charset="0"/>
                <a:cs typeface="Times New Roman" panose="02020603050405020304" pitchFamily="18" charset="0"/>
              </a:rPr>
              <a:t>What happens to the resources within a resource group when an action or setting at the Resource Group level is applied?</a:t>
            </a:r>
            <a:endParaRPr lang="en-US" sz="2000" dirty="0">
              <a:effectLst/>
              <a:latin typeface="Times New Roman" panose="02020603050405020304"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2000" dirty="0">
                <a:solidFill>
                  <a:srgbClr val="161616"/>
                </a:solidFill>
                <a:effectLst/>
                <a:latin typeface="Times New Roman" panose="02020603050405020304" pitchFamily="18" charset="0"/>
                <a:ea typeface="Times New Roman" panose="02020603050405020304" pitchFamily="18" charset="0"/>
                <a:cs typeface="Times New Roman" panose="02020603050405020304" pitchFamily="18" charset="0"/>
              </a:rPr>
              <a:t>1.Current resources inherit the setting, but future resources don’t.</a:t>
            </a:r>
            <a:endParaRPr lang="en-US" sz="2000" dirty="0">
              <a:effectLst/>
              <a:latin typeface="Times New Roman" panose="02020603050405020304"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2000" dirty="0">
                <a:solidFill>
                  <a:srgbClr val="161616"/>
                </a:solidFill>
                <a:effectLst/>
                <a:latin typeface="Times New Roman" panose="02020603050405020304" pitchFamily="18" charset="0"/>
                <a:ea typeface="Times New Roman" panose="02020603050405020304" pitchFamily="18" charset="0"/>
                <a:cs typeface="Times New Roman" panose="02020603050405020304" pitchFamily="18" charset="0"/>
              </a:rPr>
              <a:t>2.Future resources inherit the setting, but current ones don’t.</a:t>
            </a:r>
            <a:endParaRPr lang="en-US" sz="2000" dirty="0">
              <a:effectLst/>
              <a:latin typeface="Times New Roman" panose="02020603050405020304"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2000" dirty="0">
                <a:solidFill>
                  <a:srgbClr val="161616"/>
                </a:solidFill>
                <a:effectLst/>
                <a:latin typeface="Times New Roman" panose="02020603050405020304" pitchFamily="18" charset="0"/>
                <a:ea typeface="Times New Roman" panose="02020603050405020304" pitchFamily="18" charset="0"/>
                <a:cs typeface="Times New Roman" panose="02020603050405020304" pitchFamily="18" charset="0"/>
              </a:rPr>
              <a:t>3.The setting is applied to current and future resources.</a:t>
            </a:r>
            <a:endParaRPr lang="en-US" sz="2000" dirty="0">
              <a:effectLst/>
              <a:latin typeface="Times New Roman" panose="02020603050405020304" pitchFamily="18" charset="0"/>
              <a:ea typeface="Calibri" panose="020F0502020204030204" pitchFamily="34" charset="0"/>
              <a:cs typeface="Times New Roman" panose="02020603050405020304" pitchFamily="18" charset="0"/>
            </a:endParaRPr>
          </a:p>
          <a:p>
            <a:pPr marL="0" marR="0"/>
            <a:r>
              <a:rPr lang="en-US" sz="1800" dirty="0">
                <a:solidFill>
                  <a:srgbClr val="161616"/>
                </a:solidFill>
                <a:effectLst/>
                <a:latin typeface="Segoe UI" panose="020B0502040204020203" pitchFamily="34" charset="0"/>
                <a:ea typeface="Times New Roman" panose="02020603050405020304" pitchFamily="18" charset="0"/>
              </a:rPr>
              <a:t> </a:t>
            </a:r>
            <a:endParaRPr lang="en-US" sz="18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1002309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EC43AC6-7C18-4B2C-8230-6F3245C104C0}"/>
              </a:ext>
            </a:extLst>
          </p:cNvPr>
          <p:cNvSpPr txBox="1"/>
          <p:nvPr/>
        </p:nvSpPr>
        <p:spPr>
          <a:xfrm>
            <a:off x="577516" y="151776"/>
            <a:ext cx="8681987" cy="1077218"/>
          </a:xfrm>
          <a:prstGeom prst="rect">
            <a:avLst/>
          </a:prstGeom>
          <a:noFill/>
        </p:spPr>
        <p:txBody>
          <a:bodyPr wrap="square" rtlCol="0">
            <a:spAutoFit/>
          </a:bodyPr>
          <a:lstStyle/>
          <a:p>
            <a:r>
              <a:rPr lang="en-US" sz="3200" b="1" dirty="0">
                <a:solidFill>
                  <a:srgbClr val="161616"/>
                </a:solidFill>
                <a:latin typeface="Segoe UI" panose="020B0502040204020203" pitchFamily="34" charset="0"/>
              </a:rPr>
              <a:t>Resource Group</a:t>
            </a:r>
            <a:endParaRPr lang="en-US" sz="3200" b="1" i="0" dirty="0">
              <a:solidFill>
                <a:srgbClr val="161616"/>
              </a:solidFill>
              <a:effectLst/>
              <a:latin typeface="Segoe UI" panose="020B0502040204020203" pitchFamily="34" charset="0"/>
            </a:endParaRPr>
          </a:p>
          <a:p>
            <a:endParaRPr lang="en-US" sz="3200" b="1" dirty="0">
              <a:solidFill>
                <a:srgbClr val="0070AD"/>
              </a:solidFill>
              <a:latin typeface="+mj-lt"/>
              <a:cs typeface="Times New Roman" panose="02020603050405020304" pitchFamily="18" charset="0"/>
            </a:endParaRPr>
          </a:p>
        </p:txBody>
      </p:sp>
      <p:sp>
        <p:nvSpPr>
          <p:cNvPr id="4" name="TextBox 3"/>
          <p:cNvSpPr txBox="1"/>
          <p:nvPr/>
        </p:nvSpPr>
        <p:spPr>
          <a:xfrm>
            <a:off x="715617" y="1364974"/>
            <a:ext cx="10376453" cy="461665"/>
          </a:xfrm>
          <a:prstGeom prst="rect">
            <a:avLst/>
          </a:prstGeom>
          <a:noFill/>
        </p:spPr>
        <p:txBody>
          <a:bodyPr wrap="square" rtlCol="0">
            <a:spAutoFit/>
          </a:bodyPr>
          <a:lstStyle/>
          <a:p>
            <a:pPr algn="just"/>
            <a:r>
              <a:rPr lang="en-US" sz="2400" b="0" i="0" dirty="0">
                <a:solidFill>
                  <a:srgbClr val="161616"/>
                </a:solidFill>
                <a:effectLst/>
                <a:latin typeface="Segoe UI" panose="020B0502040204020203" pitchFamily="34" charset="0"/>
              </a:rPr>
              <a:t>Resource groups are simply groupings of resources</a:t>
            </a:r>
            <a:endParaRPr lang="en-US" sz="2400" dirty="0"/>
          </a:p>
        </p:txBody>
      </p:sp>
      <p:pic>
        <p:nvPicPr>
          <p:cNvPr id="2052" name="Picture 4" descr="Diagram showing a resource group box with a function, VM, database, and app included.">
            <a:extLst>
              <a:ext uri="{FF2B5EF4-FFF2-40B4-BE49-F238E27FC236}">
                <a16:creationId xmlns:a16="http://schemas.microsoft.com/office/drawing/2014/main" id="{7DB39D7E-AC1E-2A82-9BF7-23B77858CF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7300" y="2692472"/>
            <a:ext cx="6715446" cy="2171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27126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EC43AC6-7C18-4B2C-8230-6F3245C104C0}"/>
              </a:ext>
            </a:extLst>
          </p:cNvPr>
          <p:cNvSpPr txBox="1"/>
          <p:nvPr/>
        </p:nvSpPr>
        <p:spPr>
          <a:xfrm>
            <a:off x="577516" y="151776"/>
            <a:ext cx="8681987" cy="584775"/>
          </a:xfrm>
          <a:prstGeom prst="rect">
            <a:avLst/>
          </a:prstGeom>
          <a:noFill/>
        </p:spPr>
        <p:txBody>
          <a:bodyPr wrap="square" rtlCol="0">
            <a:spAutoFit/>
          </a:bodyPr>
          <a:lstStyle/>
          <a:p>
            <a:pPr algn="l"/>
            <a:r>
              <a:rPr lang="en-US" sz="3200" b="1" i="0" dirty="0">
                <a:solidFill>
                  <a:srgbClr val="161616"/>
                </a:solidFill>
                <a:effectLst/>
                <a:latin typeface="Segoe UI" panose="020B0502040204020203" pitchFamily="34" charset="0"/>
              </a:rPr>
              <a:t>Azure subscriptions</a:t>
            </a:r>
          </a:p>
        </p:txBody>
      </p:sp>
      <p:sp>
        <p:nvSpPr>
          <p:cNvPr id="4" name="TextBox 3"/>
          <p:cNvSpPr txBox="1"/>
          <p:nvPr/>
        </p:nvSpPr>
        <p:spPr>
          <a:xfrm>
            <a:off x="715617" y="1364974"/>
            <a:ext cx="10376453" cy="1569660"/>
          </a:xfrm>
          <a:prstGeom prst="rect">
            <a:avLst/>
          </a:prstGeom>
          <a:noFill/>
        </p:spPr>
        <p:txBody>
          <a:bodyPr wrap="square" rtlCol="0">
            <a:spAutoFit/>
          </a:bodyPr>
          <a:lstStyle/>
          <a:p>
            <a:pPr algn="just"/>
            <a:r>
              <a:rPr lang="en-US" sz="2400" b="0" i="0" dirty="0">
                <a:solidFill>
                  <a:srgbClr val="161616"/>
                </a:solidFill>
                <a:effectLst/>
                <a:latin typeface="Segoe UI" panose="020B0502040204020203" pitchFamily="34" charset="0"/>
              </a:rPr>
              <a:t>In Azure, subscriptions are a unit of management, billing, and scale. Similar to how resource groups are a way to logically organize resources, subscriptions allow you to logically organize your resource groups and facilitate billing.</a:t>
            </a:r>
            <a:endParaRPr lang="en-US" sz="2400" dirty="0"/>
          </a:p>
        </p:txBody>
      </p:sp>
      <p:pic>
        <p:nvPicPr>
          <p:cNvPr id="3074" name="Picture 2" descr="Diagram showing Azure subscriptions using authentication and authorization to access Azure accounts.">
            <a:extLst>
              <a:ext uri="{FF2B5EF4-FFF2-40B4-BE49-F238E27FC236}">
                <a16:creationId xmlns:a16="http://schemas.microsoft.com/office/drawing/2014/main" id="{515A5F48-E208-2201-4D1B-A7EEC2AFEA0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8139" y="3319142"/>
            <a:ext cx="6229350" cy="2562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8553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EC43AC6-7C18-4B2C-8230-6F3245C104C0}"/>
              </a:ext>
            </a:extLst>
          </p:cNvPr>
          <p:cNvSpPr txBox="1"/>
          <p:nvPr/>
        </p:nvSpPr>
        <p:spPr>
          <a:xfrm>
            <a:off x="577516" y="151776"/>
            <a:ext cx="8681987" cy="584775"/>
          </a:xfrm>
          <a:prstGeom prst="rect">
            <a:avLst/>
          </a:prstGeom>
          <a:noFill/>
        </p:spPr>
        <p:txBody>
          <a:bodyPr wrap="square" rtlCol="0">
            <a:spAutoFit/>
          </a:bodyPr>
          <a:lstStyle/>
          <a:p>
            <a:pPr algn="l"/>
            <a:r>
              <a:rPr lang="en-US" sz="3200" b="1" i="0" dirty="0">
                <a:solidFill>
                  <a:srgbClr val="161616"/>
                </a:solidFill>
                <a:effectLst/>
                <a:latin typeface="Segoe UI" panose="020B0502040204020203" pitchFamily="34" charset="0"/>
              </a:rPr>
              <a:t>Azure subscriptions</a:t>
            </a:r>
          </a:p>
        </p:txBody>
      </p:sp>
      <p:sp>
        <p:nvSpPr>
          <p:cNvPr id="4" name="TextBox 3"/>
          <p:cNvSpPr txBox="1"/>
          <p:nvPr/>
        </p:nvSpPr>
        <p:spPr>
          <a:xfrm>
            <a:off x="715617" y="1364974"/>
            <a:ext cx="10376453" cy="2677656"/>
          </a:xfrm>
          <a:prstGeom prst="rect">
            <a:avLst/>
          </a:prstGeom>
          <a:noFill/>
        </p:spPr>
        <p:txBody>
          <a:bodyPr wrap="square" rtlCol="0">
            <a:spAutoFit/>
          </a:bodyPr>
          <a:lstStyle/>
          <a:p>
            <a:pPr marL="342900" indent="-342900" algn="just">
              <a:buFont typeface="Arial" panose="020B0604020202020204" pitchFamily="34" charset="0"/>
              <a:buChar char="•"/>
            </a:pPr>
            <a:r>
              <a:rPr lang="en-US" sz="2400" b="0" i="0" dirty="0">
                <a:solidFill>
                  <a:srgbClr val="161616"/>
                </a:solidFill>
                <a:effectLst/>
                <a:latin typeface="Segoe UI" panose="020B0502040204020203" pitchFamily="34" charset="0"/>
              </a:rPr>
              <a:t>A subscription provides you with authenticated and authorized access to Azure products and services.</a:t>
            </a:r>
          </a:p>
          <a:p>
            <a:pPr marL="342900" indent="-342900" algn="just">
              <a:buFont typeface="Arial" panose="020B0604020202020204" pitchFamily="34" charset="0"/>
              <a:buChar char="•"/>
            </a:pPr>
            <a:endParaRPr lang="en-US" sz="2400" b="0" i="0" dirty="0">
              <a:solidFill>
                <a:srgbClr val="161616"/>
              </a:solidFill>
              <a:effectLst/>
              <a:latin typeface="Segoe UI" panose="020B0502040204020203" pitchFamily="34" charset="0"/>
            </a:endParaRPr>
          </a:p>
          <a:p>
            <a:pPr marL="342900" indent="-342900" algn="just">
              <a:buFont typeface="Arial" panose="020B0604020202020204" pitchFamily="34" charset="0"/>
              <a:buChar char="•"/>
            </a:pPr>
            <a:r>
              <a:rPr lang="en-US" sz="2400" b="0" i="0" dirty="0">
                <a:solidFill>
                  <a:srgbClr val="161616"/>
                </a:solidFill>
                <a:effectLst/>
                <a:latin typeface="Segoe UI" panose="020B0502040204020203" pitchFamily="34" charset="0"/>
              </a:rPr>
              <a:t> It also allows you to provision resources. </a:t>
            </a:r>
          </a:p>
          <a:p>
            <a:pPr marL="342900" indent="-342900" algn="just">
              <a:buFont typeface="Arial" panose="020B0604020202020204" pitchFamily="34" charset="0"/>
              <a:buChar char="•"/>
            </a:pPr>
            <a:endParaRPr lang="en-US" sz="2400" b="0" i="0" dirty="0">
              <a:solidFill>
                <a:srgbClr val="161616"/>
              </a:solidFill>
              <a:effectLst/>
              <a:latin typeface="Segoe UI" panose="020B0502040204020203" pitchFamily="34" charset="0"/>
            </a:endParaRPr>
          </a:p>
          <a:p>
            <a:pPr marL="342900" indent="-342900" algn="just">
              <a:buFont typeface="Arial" panose="020B0604020202020204" pitchFamily="34" charset="0"/>
              <a:buChar char="•"/>
            </a:pPr>
            <a:r>
              <a:rPr lang="en-US" sz="2400" b="0" i="0" dirty="0">
                <a:solidFill>
                  <a:srgbClr val="161616"/>
                </a:solidFill>
                <a:effectLst/>
                <a:latin typeface="Segoe UI" panose="020B0502040204020203" pitchFamily="34" charset="0"/>
              </a:rPr>
              <a:t>An Azure subscription links to an Azure account, which is an identity in Azure Active Directory (Azure AD) or in a directory that Azure AD trusts.</a:t>
            </a:r>
            <a:endParaRPr lang="en-US" sz="2400" dirty="0"/>
          </a:p>
        </p:txBody>
      </p:sp>
    </p:spTree>
    <p:extLst>
      <p:ext uri="{BB962C8B-B14F-4D97-AF65-F5344CB8AC3E}">
        <p14:creationId xmlns:p14="http://schemas.microsoft.com/office/powerpoint/2010/main" val="22650414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Hexagon 3">
            <a:extLst>
              <a:ext uri="{FF2B5EF4-FFF2-40B4-BE49-F238E27FC236}">
                <a16:creationId xmlns:a16="http://schemas.microsoft.com/office/drawing/2014/main" id="{39F0C28E-8481-4377-8C1B-5D5DB6987322}"/>
              </a:ext>
            </a:extLst>
          </p:cNvPr>
          <p:cNvSpPr/>
          <p:nvPr/>
        </p:nvSpPr>
        <p:spPr>
          <a:xfrm>
            <a:off x="4333100" y="1986118"/>
            <a:ext cx="869228" cy="748955"/>
          </a:xfrm>
          <a:prstGeom prst="hexagon">
            <a:avLst>
              <a:gd name="adj" fmla="val 28900"/>
              <a:gd name="vf" fmla="val 115470"/>
            </a:avLst>
          </a:prstGeom>
        </p:spPr>
        <p:style>
          <a:lnRef idx="0">
            <a:schemeClr val="dk1">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dk1">
              <a:hueOff val="0"/>
              <a:satOff val="0"/>
              <a:lumOff val="0"/>
              <a:alphaOff val="0"/>
            </a:schemeClr>
          </a:fontRef>
        </p:style>
      </p:sp>
      <p:sp>
        <p:nvSpPr>
          <p:cNvPr id="2" name="TextBox 1">
            <a:extLst>
              <a:ext uri="{FF2B5EF4-FFF2-40B4-BE49-F238E27FC236}">
                <a16:creationId xmlns:a16="http://schemas.microsoft.com/office/drawing/2014/main" id="{E9B5E2BD-2D7A-4954-89BC-66C64F0DB3B7}"/>
              </a:ext>
            </a:extLst>
          </p:cNvPr>
          <p:cNvSpPr txBox="1"/>
          <p:nvPr/>
        </p:nvSpPr>
        <p:spPr>
          <a:xfrm>
            <a:off x="577516" y="151776"/>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Benefits of Microsoft Azure</a:t>
            </a:r>
          </a:p>
        </p:txBody>
      </p:sp>
      <p:graphicFrame>
        <p:nvGraphicFramePr>
          <p:cNvPr id="3" name="Diagram 2">
            <a:extLst>
              <a:ext uri="{FF2B5EF4-FFF2-40B4-BE49-F238E27FC236}">
                <a16:creationId xmlns:a16="http://schemas.microsoft.com/office/drawing/2014/main" id="{EA4BEE63-AFD5-4183-8946-E50B281ABE40}"/>
              </a:ext>
            </a:extLst>
          </p:cNvPr>
          <p:cNvGraphicFramePr/>
          <p:nvPr>
            <p:extLst>
              <p:ext uri="{D42A27DB-BD31-4B8C-83A1-F6EECF244321}">
                <p14:modId xmlns:p14="http://schemas.microsoft.com/office/powerpoint/2010/main" val="1013635153"/>
              </p:ext>
            </p:extLst>
          </p:nvPr>
        </p:nvGraphicFramePr>
        <p:xfrm>
          <a:off x="1300480" y="1087655"/>
          <a:ext cx="8449912" cy="56185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005855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EC43AC6-7C18-4B2C-8230-6F3245C104C0}"/>
              </a:ext>
            </a:extLst>
          </p:cNvPr>
          <p:cNvSpPr txBox="1"/>
          <p:nvPr/>
        </p:nvSpPr>
        <p:spPr>
          <a:xfrm>
            <a:off x="577516" y="151776"/>
            <a:ext cx="8681987" cy="584775"/>
          </a:xfrm>
          <a:prstGeom prst="rect">
            <a:avLst/>
          </a:prstGeom>
          <a:noFill/>
        </p:spPr>
        <p:txBody>
          <a:bodyPr wrap="square" rtlCol="0">
            <a:spAutoFit/>
          </a:bodyPr>
          <a:lstStyle/>
          <a:p>
            <a:pPr algn="l"/>
            <a:r>
              <a:rPr lang="en-US" sz="3200" b="1" i="0" dirty="0">
                <a:solidFill>
                  <a:srgbClr val="161616"/>
                </a:solidFill>
                <a:effectLst/>
                <a:latin typeface="Segoe UI" panose="020B0502040204020203" pitchFamily="34" charset="0"/>
              </a:rPr>
              <a:t>Azure Portal</a:t>
            </a:r>
          </a:p>
        </p:txBody>
      </p:sp>
      <p:sp>
        <p:nvSpPr>
          <p:cNvPr id="4" name="TextBox 3"/>
          <p:cNvSpPr txBox="1"/>
          <p:nvPr/>
        </p:nvSpPr>
        <p:spPr>
          <a:xfrm>
            <a:off x="715617" y="1364974"/>
            <a:ext cx="10376453" cy="4401205"/>
          </a:xfrm>
          <a:prstGeom prst="rect">
            <a:avLst/>
          </a:prstGeom>
          <a:noFill/>
        </p:spPr>
        <p:txBody>
          <a:bodyPr wrap="square" rtlCol="0">
            <a:spAutoFit/>
          </a:bodyPr>
          <a:lstStyle/>
          <a:p>
            <a:pPr marL="342900" indent="-342900">
              <a:buFont typeface="Arial" panose="020B0604020202020204" pitchFamily="34" charset="0"/>
              <a:buChar char="•"/>
            </a:pPr>
            <a:r>
              <a:rPr lang="en-US" sz="2800" spc="-15" dirty="0">
                <a:effectLst/>
                <a:latin typeface="Times New Roman" panose="02020603050405020304" pitchFamily="18" charset="0"/>
                <a:ea typeface="Times New Roman" panose="02020603050405020304" pitchFamily="18" charset="0"/>
                <a:cs typeface="Times New Roman" panose="02020603050405020304" pitchFamily="18" charset="0"/>
              </a:rPr>
              <a:t>The Azure portal is probably the most common and initially the most approachable way to interact with Azure.</a:t>
            </a:r>
            <a:endParaRPr lang="en-US" sz="2800" b="0" i="0" dirty="0">
              <a:solidFill>
                <a:srgbClr val="161616"/>
              </a:solidFill>
              <a:effectLst/>
              <a:latin typeface="Times New Roman" panose="02020603050405020304" pitchFamily="18" charset="0"/>
              <a:cs typeface="Times New Roman" panose="02020603050405020304" pitchFamily="18" charset="0"/>
            </a:endParaRPr>
          </a:p>
          <a:p>
            <a:pPr marL="342900" indent="-342900" algn="just">
              <a:buFont typeface="Arial" panose="020B0604020202020204" pitchFamily="34" charset="0"/>
              <a:buChar char="•"/>
            </a:pPr>
            <a:r>
              <a:rPr lang="en-US" sz="2800" b="0" i="0" dirty="0">
                <a:solidFill>
                  <a:srgbClr val="161616"/>
                </a:solidFill>
                <a:effectLst/>
                <a:latin typeface="Times New Roman" panose="02020603050405020304" pitchFamily="18" charset="0"/>
                <a:cs typeface="Times New Roman" panose="02020603050405020304" pitchFamily="18" charset="0"/>
              </a:rPr>
              <a:t> </a:t>
            </a:r>
            <a:r>
              <a:rPr lang="en-US" sz="2800" spc="-15" dirty="0">
                <a:effectLst/>
                <a:latin typeface="Times New Roman" panose="02020603050405020304" pitchFamily="18" charset="0"/>
                <a:ea typeface="Times New Roman" panose="02020603050405020304" pitchFamily="18" charset="0"/>
                <a:cs typeface="Times New Roman" panose="02020603050405020304" pitchFamily="18" charset="0"/>
              </a:rPr>
              <a:t>The portal gives you access to all your resources on Azure and all features of Azure can be accessed through it. You can, using Microsoft's words, "Build, manage, and monitor everything from "simple web apps to complex cloud applications "in a single, unified console</a:t>
            </a:r>
            <a:r>
              <a:rPr lang="en-US" sz="2800" b="0" i="0" dirty="0">
                <a:solidFill>
                  <a:srgbClr val="161616"/>
                </a:solidFill>
                <a:effectLst/>
                <a:latin typeface="Times New Roman" panose="02020603050405020304" pitchFamily="18" charset="0"/>
                <a:cs typeface="Times New Roman" panose="02020603050405020304" pitchFamily="18" charset="0"/>
              </a:rPr>
              <a:t>.</a:t>
            </a:r>
          </a:p>
          <a:p>
            <a:pPr marL="342900" indent="-342900" algn="just">
              <a:buFont typeface="Arial" panose="020B0604020202020204" pitchFamily="34" charset="0"/>
              <a:buChar char="•"/>
            </a:pPr>
            <a:r>
              <a:rPr lang="en-US" sz="2800" spc="-15" dirty="0">
                <a:effectLst/>
                <a:latin typeface="Times New Roman" panose="02020603050405020304" pitchFamily="18" charset="0"/>
                <a:ea typeface="Times New Roman" panose="02020603050405020304" pitchFamily="18" charset="0"/>
                <a:cs typeface="Times New Roman" panose="02020603050405020304" pitchFamily="18" charset="0"/>
              </a:rPr>
              <a:t>Access control, you can choose who has access to resources with very great accuracy. This is important to manage and govern your Azure resources effectively</a:t>
            </a:r>
            <a:endParaRPr lang="en-US" sz="28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4602660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EC43AC6-7C18-4B2C-8230-6F3245C104C0}"/>
              </a:ext>
            </a:extLst>
          </p:cNvPr>
          <p:cNvSpPr txBox="1"/>
          <p:nvPr/>
        </p:nvSpPr>
        <p:spPr>
          <a:xfrm>
            <a:off x="577516" y="151776"/>
            <a:ext cx="8681987" cy="584775"/>
          </a:xfrm>
          <a:prstGeom prst="rect">
            <a:avLst/>
          </a:prstGeom>
          <a:noFill/>
        </p:spPr>
        <p:txBody>
          <a:bodyPr wrap="square" rtlCol="0">
            <a:spAutoFit/>
          </a:bodyPr>
          <a:lstStyle/>
          <a:p>
            <a:pPr algn="l"/>
            <a:r>
              <a:rPr lang="en-US" sz="3200" b="1" i="0" dirty="0">
                <a:solidFill>
                  <a:srgbClr val="161616"/>
                </a:solidFill>
                <a:effectLst/>
                <a:latin typeface="Segoe UI" panose="020B0502040204020203" pitchFamily="34" charset="0"/>
              </a:rPr>
              <a:t>Azure </a:t>
            </a:r>
            <a:r>
              <a:rPr lang="en-US" sz="3200" b="1" dirty="0">
                <a:solidFill>
                  <a:srgbClr val="161616"/>
                </a:solidFill>
                <a:latin typeface="Segoe UI" panose="020B0502040204020203" pitchFamily="34" charset="0"/>
              </a:rPr>
              <a:t>CLI</a:t>
            </a:r>
            <a:endParaRPr lang="en-US" sz="3200" b="1" i="0" dirty="0">
              <a:solidFill>
                <a:srgbClr val="161616"/>
              </a:solidFill>
              <a:effectLst/>
              <a:latin typeface="Segoe UI" panose="020B0502040204020203" pitchFamily="34" charset="0"/>
            </a:endParaRPr>
          </a:p>
        </p:txBody>
      </p:sp>
      <p:sp>
        <p:nvSpPr>
          <p:cNvPr id="4" name="TextBox 3"/>
          <p:cNvSpPr txBox="1"/>
          <p:nvPr/>
        </p:nvSpPr>
        <p:spPr>
          <a:xfrm>
            <a:off x="715617" y="1364974"/>
            <a:ext cx="10376453" cy="5555367"/>
          </a:xfrm>
          <a:prstGeom prst="rect">
            <a:avLst/>
          </a:prstGeom>
          <a:noFill/>
        </p:spPr>
        <p:txBody>
          <a:bodyPr wrap="square" rtlCol="0">
            <a:spAutoFit/>
          </a:bodyPr>
          <a:lstStyle/>
          <a:p>
            <a:pPr marL="0" marR="0">
              <a:lnSpc>
                <a:spcPts val="2400"/>
              </a:lnSpc>
              <a:spcBef>
                <a:spcPts val="0"/>
              </a:spcBef>
              <a:spcAft>
                <a:spcPts val="3000"/>
              </a:spcAft>
            </a:pPr>
            <a:r>
              <a:rPr lang="en-US" sz="2400" spc="-15"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Azure Command Line Interface. </a:t>
            </a:r>
            <a:endParaRPr lang="en-US" sz="24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0" marR="0">
              <a:lnSpc>
                <a:spcPts val="2400"/>
              </a:lnSpc>
              <a:spcBef>
                <a:spcPts val="0"/>
              </a:spcBef>
              <a:spcAft>
                <a:spcPts val="3000"/>
              </a:spcAft>
            </a:pPr>
            <a:r>
              <a:rPr lang="en-US" sz="2400" spc="-15"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It is a text-only entry tool, also known as a command line interface – </a:t>
            </a:r>
          </a:p>
          <a:p>
            <a:pPr marL="0" marR="0">
              <a:lnSpc>
                <a:spcPts val="2400"/>
              </a:lnSpc>
              <a:spcBef>
                <a:spcPts val="0"/>
              </a:spcBef>
              <a:spcAft>
                <a:spcPts val="3000"/>
              </a:spcAft>
            </a:pPr>
            <a:r>
              <a:rPr lang="en-US" sz="2400" spc="-15" dirty="0">
                <a:solidFill>
                  <a:srgbClr val="000000"/>
                </a:solidFill>
                <a:latin typeface="Times New Roman" panose="02020603050405020304" pitchFamily="18" charset="0"/>
                <a:ea typeface="Times New Roman" panose="02020603050405020304" pitchFamily="18" charset="0"/>
                <a:cs typeface="Times New Roman" panose="02020603050405020304" pitchFamily="18" charset="0"/>
              </a:rPr>
              <a:t>A</a:t>
            </a:r>
            <a:r>
              <a:rPr lang="en-US" sz="2400" spc="-15"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n interface you only type commands into.</a:t>
            </a:r>
          </a:p>
          <a:p>
            <a:pPr marL="0" marR="0">
              <a:lnSpc>
                <a:spcPts val="2400"/>
              </a:lnSpc>
              <a:spcBef>
                <a:spcPts val="0"/>
              </a:spcBef>
              <a:spcAft>
                <a:spcPts val="3000"/>
              </a:spcAft>
            </a:pPr>
            <a:r>
              <a:rPr lang="en-US" sz="2400" spc="-15"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In the CLI, you use a command like '</a:t>
            </a:r>
            <a:r>
              <a:rPr lang="en-US" sz="2400" spc="-15" dirty="0" err="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az</a:t>
            </a:r>
            <a:r>
              <a:rPr lang="en-US" sz="2400" spc="-15"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2400" spc="-15" dirty="0" err="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vm</a:t>
            </a:r>
            <a:r>
              <a:rPr lang="en-US" sz="2400" spc="-15"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 create', all typed out, to create a VM.</a:t>
            </a:r>
          </a:p>
          <a:p>
            <a:pPr>
              <a:lnSpc>
                <a:spcPts val="2400"/>
              </a:lnSpc>
              <a:spcAft>
                <a:spcPts val="3000"/>
              </a:spcAft>
            </a:pPr>
            <a:r>
              <a:rPr lang="en-US" sz="2400" spc="-15" dirty="0">
                <a:solidFill>
                  <a:srgbClr val="000000"/>
                </a:solidFill>
                <a:effectLst/>
                <a:latin typeface="Calibri" panose="020F0502020204030204" pitchFamily="34" charset="0"/>
                <a:ea typeface="Times New Roman" panose="02020603050405020304" pitchFamily="18" charset="0"/>
              </a:rPr>
              <a:t>The CLI is a tool used a lot by Azure professionals for a few reasons. </a:t>
            </a:r>
          </a:p>
          <a:p>
            <a:pPr marL="0" marR="0">
              <a:lnSpc>
                <a:spcPts val="2400"/>
              </a:lnSpc>
              <a:spcBef>
                <a:spcPts val="0"/>
              </a:spcBef>
              <a:spcAft>
                <a:spcPts val="3000"/>
              </a:spcAft>
            </a:pPr>
            <a:r>
              <a:rPr lang="en-US" sz="2400" spc="-15" dirty="0">
                <a:solidFill>
                  <a:srgbClr val="000000"/>
                </a:solidFill>
                <a:effectLst/>
                <a:latin typeface="Calibri" panose="020F0502020204030204" pitchFamily="34" charset="0"/>
                <a:ea typeface="Times New Roman" panose="02020603050405020304" pitchFamily="18" charset="0"/>
              </a:rPr>
              <a:t>Because commands change rarely, you can automate actions using the Azure CLI commands. </a:t>
            </a:r>
            <a:endParaRPr lang="en-US" sz="2400" dirty="0">
              <a:effectLst/>
              <a:latin typeface="Times New Roman" panose="02020603050405020304" pitchFamily="18" charset="0"/>
              <a:ea typeface="Times New Roman" panose="02020603050405020304" pitchFamily="18" charset="0"/>
            </a:endParaRPr>
          </a:p>
          <a:p>
            <a:pPr>
              <a:lnSpc>
                <a:spcPts val="2400"/>
              </a:lnSpc>
              <a:spcAft>
                <a:spcPts val="3000"/>
              </a:spcAft>
            </a:pPr>
            <a:endParaRPr lang="en-US" sz="1800" dirty="0">
              <a:effectLst/>
              <a:latin typeface="Times New Roman" panose="02020603050405020304" pitchFamily="18" charset="0"/>
              <a:ea typeface="Times New Roman" panose="02020603050405020304" pitchFamily="18" charset="0"/>
            </a:endParaRPr>
          </a:p>
          <a:p>
            <a:pPr marL="0" marR="0">
              <a:lnSpc>
                <a:spcPts val="2400"/>
              </a:lnSpc>
              <a:spcBef>
                <a:spcPts val="0"/>
              </a:spcBef>
              <a:spcAft>
                <a:spcPts val="3000"/>
              </a:spcAft>
            </a:pPr>
            <a:endParaRPr lang="en-US" sz="2400" dirty="0">
              <a:effectLst/>
              <a:latin typeface="Times New Roman" panose="02020603050405020304" pitchFamily="18"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9636835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EC43AC6-7C18-4B2C-8230-6F3245C104C0}"/>
              </a:ext>
            </a:extLst>
          </p:cNvPr>
          <p:cNvSpPr txBox="1"/>
          <p:nvPr/>
        </p:nvSpPr>
        <p:spPr>
          <a:xfrm>
            <a:off x="577516" y="151776"/>
            <a:ext cx="8681987" cy="584775"/>
          </a:xfrm>
          <a:prstGeom prst="rect">
            <a:avLst/>
          </a:prstGeom>
          <a:noFill/>
        </p:spPr>
        <p:txBody>
          <a:bodyPr wrap="square" rtlCol="0">
            <a:spAutoFit/>
          </a:bodyPr>
          <a:lstStyle/>
          <a:p>
            <a:pPr algn="l"/>
            <a:r>
              <a:rPr lang="en-US" sz="3200" b="1" i="0" dirty="0">
                <a:solidFill>
                  <a:srgbClr val="161616"/>
                </a:solidFill>
                <a:effectLst/>
                <a:latin typeface="Segoe UI" panose="020B0502040204020203" pitchFamily="34" charset="0"/>
              </a:rPr>
              <a:t>Azure Portal</a:t>
            </a:r>
          </a:p>
        </p:txBody>
      </p:sp>
      <p:sp>
        <p:nvSpPr>
          <p:cNvPr id="4" name="TextBox 3"/>
          <p:cNvSpPr txBox="1"/>
          <p:nvPr/>
        </p:nvSpPr>
        <p:spPr>
          <a:xfrm>
            <a:off x="715617" y="1364974"/>
            <a:ext cx="10376453" cy="5262979"/>
          </a:xfrm>
          <a:prstGeom prst="rect">
            <a:avLst/>
          </a:prstGeom>
          <a:noFill/>
        </p:spPr>
        <p:txBody>
          <a:bodyPr wrap="square" rtlCol="0">
            <a:spAutoFit/>
          </a:bodyPr>
          <a:lstStyle/>
          <a:p>
            <a:pPr marL="342900" indent="-342900">
              <a:buFont typeface="Arial" panose="020B0604020202020204" pitchFamily="34" charset="0"/>
              <a:buChar char="•"/>
            </a:pPr>
            <a:r>
              <a:rPr lang="en-US" sz="2800" spc="-15" dirty="0">
                <a:effectLst/>
                <a:latin typeface="Times New Roman" panose="02020603050405020304" pitchFamily="18" charset="0"/>
                <a:ea typeface="Times New Roman" panose="02020603050405020304" pitchFamily="18" charset="0"/>
                <a:cs typeface="Times New Roman" panose="02020603050405020304" pitchFamily="18" charset="0"/>
              </a:rPr>
              <a:t>The Azure portal is probably the most common and initially the most approachable way to interact with Azure.</a:t>
            </a:r>
            <a:endParaRPr lang="en-US" sz="2800" b="0" i="0" dirty="0">
              <a:solidFill>
                <a:srgbClr val="161616"/>
              </a:solidFill>
              <a:effectLst/>
              <a:latin typeface="Times New Roman" panose="02020603050405020304" pitchFamily="18" charset="0"/>
              <a:cs typeface="Times New Roman" panose="02020603050405020304" pitchFamily="18" charset="0"/>
            </a:endParaRPr>
          </a:p>
          <a:p>
            <a:pPr marL="342900" indent="-342900" algn="just">
              <a:buFont typeface="Arial" panose="020B0604020202020204" pitchFamily="34" charset="0"/>
              <a:buChar char="•"/>
            </a:pPr>
            <a:r>
              <a:rPr lang="en-US" sz="2800" b="0" i="0" dirty="0">
                <a:solidFill>
                  <a:srgbClr val="161616"/>
                </a:solidFill>
                <a:effectLst/>
                <a:latin typeface="Times New Roman" panose="02020603050405020304" pitchFamily="18" charset="0"/>
                <a:cs typeface="Times New Roman" panose="02020603050405020304" pitchFamily="18" charset="0"/>
              </a:rPr>
              <a:t> </a:t>
            </a:r>
            <a:r>
              <a:rPr lang="en-US" sz="2800" spc="-15" dirty="0">
                <a:effectLst/>
                <a:latin typeface="Times New Roman" panose="02020603050405020304" pitchFamily="18" charset="0"/>
                <a:ea typeface="Times New Roman" panose="02020603050405020304" pitchFamily="18" charset="0"/>
                <a:cs typeface="Times New Roman" panose="02020603050405020304" pitchFamily="18" charset="0"/>
              </a:rPr>
              <a:t>The portal gives you access to all your resources on Azure and all features of Azure can be accessed through it. You can, using Microsoft's words, "Build, manage, and monitor everything from "simple web apps to complex cloud applications "in a single, unified console</a:t>
            </a:r>
            <a:r>
              <a:rPr lang="en-US" sz="2800" b="0" i="0" dirty="0">
                <a:solidFill>
                  <a:srgbClr val="161616"/>
                </a:solidFill>
                <a:effectLst/>
                <a:latin typeface="Times New Roman" panose="02020603050405020304" pitchFamily="18" charset="0"/>
                <a:cs typeface="Times New Roman" panose="02020603050405020304" pitchFamily="18" charset="0"/>
              </a:rPr>
              <a:t>.</a:t>
            </a:r>
          </a:p>
          <a:p>
            <a:pPr marL="342900" indent="-342900" algn="just">
              <a:buFont typeface="Arial" panose="020B0604020202020204" pitchFamily="34" charset="0"/>
              <a:buChar char="•"/>
            </a:pPr>
            <a:r>
              <a:rPr lang="en-US" sz="2800" spc="-15" dirty="0">
                <a:effectLst/>
                <a:latin typeface="Times New Roman" panose="02020603050405020304" pitchFamily="18" charset="0"/>
                <a:ea typeface="Times New Roman" panose="02020603050405020304" pitchFamily="18" charset="0"/>
                <a:cs typeface="Times New Roman" panose="02020603050405020304" pitchFamily="18" charset="0"/>
              </a:rPr>
              <a:t>Access control, you can choose who has access to resources with very great accuracy. This is important to manage and govern your Azure resources effectively</a:t>
            </a:r>
          </a:p>
          <a:p>
            <a:pPr marL="342900" indent="-342900" algn="just">
              <a:buFont typeface="Arial" panose="020B0604020202020204" pitchFamily="34" charset="0"/>
              <a:buChar char="•"/>
            </a:pPr>
            <a:r>
              <a:rPr lang="en-US" sz="2800" spc="-15" dirty="0">
                <a:effectLst/>
                <a:latin typeface="Calibri" panose="020F0502020204030204" pitchFamily="34" charset="0"/>
                <a:ea typeface="Times New Roman" panose="02020603050405020304" pitchFamily="18" charset="0"/>
              </a:rPr>
              <a:t>It is a great visual way to manage Azure resources, and you will be using it a lot</a:t>
            </a:r>
            <a:r>
              <a:rPr lang="en-US" sz="1800" spc="-15" dirty="0">
                <a:effectLst/>
                <a:latin typeface="Calibri" panose="020F0502020204030204" pitchFamily="34" charset="0"/>
                <a:ea typeface="Times New Roman" panose="02020603050405020304" pitchFamily="18" charset="0"/>
              </a:rPr>
              <a:t>. </a:t>
            </a:r>
            <a:endParaRPr lang="en-US" sz="28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1648819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D74B42D-21D3-4FDF-9B61-F4545BBE2621}"/>
              </a:ext>
            </a:extLst>
          </p:cNvPr>
          <p:cNvSpPr txBox="1"/>
          <p:nvPr/>
        </p:nvSpPr>
        <p:spPr>
          <a:xfrm>
            <a:off x="577516" y="327257"/>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Lesson Objectives</a:t>
            </a:r>
          </a:p>
        </p:txBody>
      </p:sp>
      <p:sp>
        <p:nvSpPr>
          <p:cNvPr id="5" name="TextBox 4">
            <a:extLst>
              <a:ext uri="{FF2B5EF4-FFF2-40B4-BE49-F238E27FC236}">
                <a16:creationId xmlns:a16="http://schemas.microsoft.com/office/drawing/2014/main" id="{FC352D2A-9B63-4F38-B84C-B9A5F22A57AF}"/>
              </a:ext>
            </a:extLst>
          </p:cNvPr>
          <p:cNvSpPr txBox="1"/>
          <p:nvPr/>
        </p:nvSpPr>
        <p:spPr>
          <a:xfrm>
            <a:off x="432068" y="1372336"/>
            <a:ext cx="9270732" cy="3508653"/>
          </a:xfrm>
          <a:prstGeom prst="rect">
            <a:avLst/>
          </a:prstGeom>
          <a:noFill/>
        </p:spPr>
        <p:txBody>
          <a:bodyPr wrap="square" rtlCol="0">
            <a:spAutoFit/>
          </a:bodyPr>
          <a:lstStyle/>
          <a:p>
            <a:pPr algn="just">
              <a:lnSpc>
                <a:spcPct val="150000"/>
              </a:lnSpc>
            </a:pPr>
            <a:r>
              <a:rPr lang="en-US" sz="2400" dirty="0"/>
              <a:t>At the end of this module you will be able to:</a:t>
            </a:r>
          </a:p>
          <a:p>
            <a:pPr marL="800100" lvl="1" indent="-342900">
              <a:lnSpc>
                <a:spcPct val="150000"/>
              </a:lnSpc>
              <a:buFont typeface="Wingdings" panose="05000000000000000000" pitchFamily="2" charset="2"/>
              <a:buChar char="ü"/>
            </a:pPr>
            <a:r>
              <a:rPr lang="en-US" sz="2000" dirty="0"/>
              <a:t>Understand the fundamentals of Microsoft Azure</a:t>
            </a:r>
          </a:p>
          <a:p>
            <a:pPr marL="800100" lvl="1" indent="-342900">
              <a:lnSpc>
                <a:spcPct val="150000"/>
              </a:lnSpc>
              <a:buFont typeface="Wingdings" panose="05000000000000000000" pitchFamily="2" charset="2"/>
              <a:buChar char="ü"/>
            </a:pPr>
            <a:r>
              <a:rPr lang="en-US" sz="2000" dirty="0"/>
              <a:t>Get an overview of Azure services</a:t>
            </a:r>
          </a:p>
          <a:p>
            <a:pPr marL="800100" lvl="1" indent="-342900">
              <a:lnSpc>
                <a:spcPct val="150000"/>
              </a:lnSpc>
              <a:buFont typeface="Wingdings" panose="05000000000000000000" pitchFamily="2" charset="2"/>
              <a:buChar char="ü"/>
            </a:pPr>
            <a:r>
              <a:rPr lang="en-US" sz="2000" dirty="0"/>
              <a:t>Get an idea of Azure portal and its navigation</a:t>
            </a:r>
          </a:p>
          <a:p>
            <a:pPr marL="800100" lvl="1" indent="-342900">
              <a:lnSpc>
                <a:spcPct val="150000"/>
              </a:lnSpc>
              <a:buFont typeface="Wingdings" panose="05000000000000000000" pitchFamily="2" charset="2"/>
              <a:buChar char="ü"/>
            </a:pPr>
            <a:endParaRPr lang="en-US" sz="2000" dirty="0"/>
          </a:p>
          <a:p>
            <a:pPr marL="800100" lvl="1" indent="-342900">
              <a:lnSpc>
                <a:spcPct val="150000"/>
              </a:lnSpc>
              <a:buFont typeface="Wingdings" panose="05000000000000000000" pitchFamily="2" charset="2"/>
              <a:buChar char="ü"/>
            </a:pPr>
            <a:endParaRPr lang="en-US" sz="2000" dirty="0"/>
          </a:p>
          <a:p>
            <a:pPr marL="800100" lvl="1" indent="-342900">
              <a:lnSpc>
                <a:spcPct val="150000"/>
              </a:lnSpc>
              <a:buFont typeface="Arial" panose="020B0604020202020204" pitchFamily="34" charset="0"/>
              <a:buChar char="•"/>
            </a:pPr>
            <a:endParaRPr lang="en-US" sz="2400" dirty="0"/>
          </a:p>
        </p:txBody>
      </p:sp>
    </p:spTree>
    <p:extLst>
      <p:ext uri="{BB962C8B-B14F-4D97-AF65-F5344CB8AC3E}">
        <p14:creationId xmlns:p14="http://schemas.microsoft.com/office/powerpoint/2010/main" val="38259128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EC43AC6-7C18-4B2C-8230-6F3245C104C0}"/>
              </a:ext>
            </a:extLst>
          </p:cNvPr>
          <p:cNvSpPr txBox="1"/>
          <p:nvPr/>
        </p:nvSpPr>
        <p:spPr>
          <a:xfrm>
            <a:off x="577516" y="151776"/>
            <a:ext cx="8681987" cy="584775"/>
          </a:xfrm>
          <a:prstGeom prst="rect">
            <a:avLst/>
          </a:prstGeom>
          <a:noFill/>
        </p:spPr>
        <p:txBody>
          <a:bodyPr wrap="square" rtlCol="0">
            <a:spAutoFit/>
          </a:bodyPr>
          <a:lstStyle/>
          <a:p>
            <a:pPr algn="l"/>
            <a:r>
              <a:rPr lang="en-US" sz="3200" b="1" dirty="0">
                <a:solidFill>
                  <a:srgbClr val="161616"/>
                </a:solidFill>
                <a:latin typeface="Segoe UI" panose="020B0502040204020203" pitchFamily="34" charset="0"/>
              </a:rPr>
              <a:t>PowerShell</a:t>
            </a:r>
            <a:endParaRPr lang="en-US" sz="3200" b="1" i="0" dirty="0">
              <a:solidFill>
                <a:srgbClr val="161616"/>
              </a:solidFill>
              <a:effectLst/>
              <a:latin typeface="Segoe UI" panose="020B0502040204020203" pitchFamily="34" charset="0"/>
            </a:endParaRPr>
          </a:p>
        </p:txBody>
      </p:sp>
      <p:sp>
        <p:nvSpPr>
          <p:cNvPr id="4" name="TextBox 3"/>
          <p:cNvSpPr txBox="1"/>
          <p:nvPr/>
        </p:nvSpPr>
        <p:spPr>
          <a:xfrm>
            <a:off x="577516" y="1580731"/>
            <a:ext cx="10376453" cy="402482"/>
          </a:xfrm>
          <a:prstGeom prst="rect">
            <a:avLst/>
          </a:prstGeom>
          <a:noFill/>
        </p:spPr>
        <p:txBody>
          <a:bodyPr wrap="square" rtlCol="0">
            <a:spAutoFit/>
          </a:bodyPr>
          <a:lstStyle/>
          <a:p>
            <a:pPr marL="0" marR="0">
              <a:lnSpc>
                <a:spcPts val="2400"/>
              </a:lnSpc>
              <a:spcBef>
                <a:spcPts val="0"/>
              </a:spcBef>
              <a:spcAft>
                <a:spcPts val="3000"/>
              </a:spcAft>
            </a:pPr>
            <a:r>
              <a:rPr lang="en-US" sz="2400" spc="-15" dirty="0">
                <a:solidFill>
                  <a:srgbClr val="000000"/>
                </a:solidFill>
                <a:effectLst/>
                <a:latin typeface="Calibri" panose="020F0502020204030204" pitchFamily="34" charset="0"/>
                <a:ea typeface="Times New Roman" panose="02020603050405020304" pitchFamily="18" charset="0"/>
              </a:rPr>
              <a:t>PowerShell is a command line interface as well, and it is text-based 100%. </a:t>
            </a:r>
            <a:endParaRPr lang="en-US" sz="24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9393479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EC43AC6-7C18-4B2C-8230-6F3245C104C0}"/>
              </a:ext>
            </a:extLst>
          </p:cNvPr>
          <p:cNvSpPr txBox="1"/>
          <p:nvPr/>
        </p:nvSpPr>
        <p:spPr>
          <a:xfrm>
            <a:off x="700806" y="295613"/>
            <a:ext cx="8681987" cy="1077218"/>
          </a:xfrm>
          <a:prstGeom prst="rect">
            <a:avLst/>
          </a:prstGeom>
          <a:noFill/>
        </p:spPr>
        <p:txBody>
          <a:bodyPr wrap="square" rtlCol="0">
            <a:spAutoFit/>
          </a:bodyPr>
          <a:lstStyle/>
          <a:p>
            <a:r>
              <a:rPr lang="en-US" sz="3200" b="1" i="0" dirty="0">
                <a:solidFill>
                  <a:srgbClr val="161616"/>
                </a:solidFill>
                <a:effectLst/>
                <a:latin typeface="Segoe UI" panose="020B0502040204020203" pitchFamily="34" charset="0"/>
              </a:rPr>
              <a:t>Azure Resource Manager</a:t>
            </a:r>
          </a:p>
          <a:p>
            <a:pPr algn="l"/>
            <a:endParaRPr lang="en-US" sz="3200" b="1" i="0" dirty="0">
              <a:solidFill>
                <a:srgbClr val="161616"/>
              </a:solidFill>
              <a:effectLst/>
              <a:latin typeface="Segoe UI" panose="020B0502040204020203" pitchFamily="34" charset="0"/>
            </a:endParaRPr>
          </a:p>
        </p:txBody>
      </p:sp>
      <p:sp>
        <p:nvSpPr>
          <p:cNvPr id="4" name="TextBox 3"/>
          <p:cNvSpPr txBox="1"/>
          <p:nvPr/>
        </p:nvSpPr>
        <p:spPr>
          <a:xfrm>
            <a:off x="577516" y="1580731"/>
            <a:ext cx="10376453" cy="1708160"/>
          </a:xfrm>
          <a:prstGeom prst="rect">
            <a:avLst/>
          </a:prstGeom>
          <a:noFill/>
        </p:spPr>
        <p:txBody>
          <a:bodyPr wrap="square" rtlCol="0">
            <a:spAutoFit/>
          </a:bodyPr>
          <a:lstStyle/>
          <a:p>
            <a:pPr marL="342900" marR="0" indent="-342900">
              <a:lnSpc>
                <a:spcPts val="2400"/>
              </a:lnSpc>
              <a:spcBef>
                <a:spcPts val="0"/>
              </a:spcBef>
              <a:spcAft>
                <a:spcPts val="3000"/>
              </a:spcAft>
              <a:buFont typeface="Arial" panose="020B0604020202020204" pitchFamily="34" charset="0"/>
              <a:buChar char="•"/>
            </a:pPr>
            <a:r>
              <a:rPr lang="en-US" sz="2400" b="0" i="0" dirty="0">
                <a:solidFill>
                  <a:srgbClr val="161616"/>
                </a:solidFill>
                <a:effectLst/>
                <a:latin typeface="Segoe UI" panose="020B0502040204020203" pitchFamily="34" charset="0"/>
              </a:rPr>
              <a:t>Azure Resource Manager is the deployment and management service for Azure.</a:t>
            </a:r>
          </a:p>
          <a:p>
            <a:pPr marL="342900" marR="0" indent="-342900">
              <a:lnSpc>
                <a:spcPts val="2400"/>
              </a:lnSpc>
              <a:spcBef>
                <a:spcPts val="0"/>
              </a:spcBef>
              <a:spcAft>
                <a:spcPts val="3000"/>
              </a:spcAft>
              <a:buFont typeface="Arial" panose="020B0604020202020204" pitchFamily="34" charset="0"/>
              <a:buChar char="•"/>
            </a:pPr>
            <a:r>
              <a:rPr lang="en-US" sz="2400" b="0" i="0" dirty="0">
                <a:solidFill>
                  <a:srgbClr val="161616"/>
                </a:solidFill>
                <a:effectLst/>
                <a:latin typeface="Segoe UI" panose="020B0502040204020203" pitchFamily="34" charset="0"/>
              </a:rPr>
              <a:t>It enables you to create, update, and delete resources in your Azure account. </a:t>
            </a:r>
            <a:endParaRPr lang="en-US" sz="2400" dirty="0">
              <a:effectLst/>
              <a:latin typeface="Times New Roman" panose="02020603050405020304" pitchFamily="18" charset="0"/>
              <a:ea typeface="Times New Roman" panose="02020603050405020304" pitchFamily="18" charset="0"/>
            </a:endParaRPr>
          </a:p>
        </p:txBody>
      </p:sp>
      <p:pic>
        <p:nvPicPr>
          <p:cNvPr id="1026" name="Picture 2" descr="Resource Manager request model">
            <a:extLst>
              <a:ext uri="{FF2B5EF4-FFF2-40B4-BE49-F238E27FC236}">
                <a16:creationId xmlns:a16="http://schemas.microsoft.com/office/drawing/2014/main" id="{8219FAA7-3BA8-DAD2-EE99-D36B47D77DC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2445" y="3704887"/>
            <a:ext cx="5429250" cy="2857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12017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EC43AC6-7C18-4B2C-8230-6F3245C104C0}"/>
              </a:ext>
            </a:extLst>
          </p:cNvPr>
          <p:cNvSpPr txBox="1"/>
          <p:nvPr/>
        </p:nvSpPr>
        <p:spPr>
          <a:xfrm>
            <a:off x="577516" y="151776"/>
            <a:ext cx="8681987" cy="584775"/>
          </a:xfrm>
          <a:prstGeom prst="rect">
            <a:avLst/>
          </a:prstGeom>
          <a:noFill/>
        </p:spPr>
        <p:txBody>
          <a:bodyPr wrap="square" rtlCol="0">
            <a:spAutoFit/>
          </a:bodyPr>
          <a:lstStyle/>
          <a:p>
            <a:pPr algn="l"/>
            <a:r>
              <a:rPr lang="en-US" sz="3200" b="1" i="0" dirty="0">
                <a:solidFill>
                  <a:srgbClr val="161616"/>
                </a:solidFill>
                <a:effectLst/>
                <a:latin typeface="Segoe UI" panose="020B0502040204020203" pitchFamily="34" charset="0"/>
              </a:rPr>
              <a:t>Advantages of ARM</a:t>
            </a:r>
          </a:p>
        </p:txBody>
      </p:sp>
      <p:sp>
        <p:nvSpPr>
          <p:cNvPr id="4" name="TextBox 3"/>
          <p:cNvSpPr txBox="1"/>
          <p:nvPr/>
        </p:nvSpPr>
        <p:spPr>
          <a:xfrm>
            <a:off x="577516" y="1580731"/>
            <a:ext cx="10376453" cy="1877437"/>
          </a:xfrm>
          <a:prstGeom prst="rect">
            <a:avLst/>
          </a:prstGeom>
          <a:noFill/>
        </p:spPr>
        <p:txBody>
          <a:bodyPr wrap="square" rtlCol="0">
            <a:spAutoFit/>
          </a:bodyPr>
          <a:lstStyle/>
          <a:p>
            <a:pPr algn="l">
              <a:buFont typeface="Arial" panose="020B0604020202020204" pitchFamily="34" charset="0"/>
              <a:buChar char="•"/>
            </a:pPr>
            <a:r>
              <a:rPr lang="en-US" sz="2400" b="1" i="0" dirty="0">
                <a:solidFill>
                  <a:srgbClr val="000000"/>
                </a:solidFill>
                <a:effectLst/>
                <a:latin typeface="Noto Sans JP"/>
              </a:rPr>
              <a:t>Consistency</a:t>
            </a:r>
            <a:r>
              <a:rPr lang="en-US" sz="2400" b="0" i="0" dirty="0">
                <a:solidFill>
                  <a:srgbClr val="000000"/>
                </a:solidFill>
                <a:effectLst/>
                <a:latin typeface="Noto Sans JP"/>
              </a:rPr>
              <a:t> </a:t>
            </a:r>
          </a:p>
          <a:p>
            <a:pPr algn="l">
              <a:buFont typeface="Arial" panose="020B0604020202020204" pitchFamily="34" charset="0"/>
              <a:buChar char="•"/>
            </a:pPr>
            <a:r>
              <a:rPr lang="en-US" sz="2400" b="1" i="0" dirty="0">
                <a:solidFill>
                  <a:srgbClr val="000000"/>
                </a:solidFill>
                <a:effectLst/>
                <a:latin typeface="Noto Sans JP"/>
              </a:rPr>
              <a:t>Modularity</a:t>
            </a:r>
            <a:endParaRPr lang="en-US" sz="2400" b="0" i="0" dirty="0">
              <a:solidFill>
                <a:srgbClr val="000000"/>
              </a:solidFill>
              <a:effectLst/>
              <a:latin typeface="Noto Sans JP"/>
            </a:endParaRPr>
          </a:p>
          <a:p>
            <a:pPr algn="l">
              <a:buFont typeface="Arial" panose="020B0604020202020204" pitchFamily="34" charset="0"/>
              <a:buChar char="•"/>
            </a:pPr>
            <a:r>
              <a:rPr lang="en-US" sz="2400" b="1" i="0" dirty="0">
                <a:solidFill>
                  <a:srgbClr val="000000"/>
                </a:solidFill>
                <a:effectLst/>
                <a:latin typeface="Noto Sans JP"/>
              </a:rPr>
              <a:t>Automation</a:t>
            </a:r>
            <a:endParaRPr lang="en-US" sz="2400" b="0" i="0" dirty="0">
              <a:solidFill>
                <a:srgbClr val="000000"/>
              </a:solidFill>
              <a:effectLst/>
              <a:latin typeface="Noto Sans JP"/>
            </a:endParaRPr>
          </a:p>
          <a:p>
            <a:pPr algn="l">
              <a:buFont typeface="Arial" panose="020B0604020202020204" pitchFamily="34" charset="0"/>
              <a:buChar char="•"/>
            </a:pPr>
            <a:r>
              <a:rPr lang="en-US" sz="2400" b="1" i="0" dirty="0">
                <a:solidFill>
                  <a:srgbClr val="000000"/>
                </a:solidFill>
                <a:effectLst/>
                <a:latin typeface="Noto Sans JP"/>
              </a:rPr>
              <a:t>Tagging</a:t>
            </a:r>
            <a:endParaRPr lang="en-US" sz="2400" b="0" i="0" dirty="0">
              <a:solidFill>
                <a:srgbClr val="000000"/>
              </a:solidFill>
              <a:effectLst/>
              <a:latin typeface="Noto Sans JP"/>
            </a:endParaRPr>
          </a:p>
          <a:p>
            <a:pPr marL="0" marR="0">
              <a:lnSpc>
                <a:spcPts val="2400"/>
              </a:lnSpc>
              <a:spcBef>
                <a:spcPts val="0"/>
              </a:spcBef>
              <a:spcAft>
                <a:spcPts val="3000"/>
              </a:spcAft>
            </a:pPr>
            <a:endParaRPr lang="en-US" sz="24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0733318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EC43AC6-7C18-4B2C-8230-6F3245C104C0}"/>
              </a:ext>
            </a:extLst>
          </p:cNvPr>
          <p:cNvSpPr txBox="1"/>
          <p:nvPr/>
        </p:nvSpPr>
        <p:spPr>
          <a:xfrm>
            <a:off x="577516" y="151776"/>
            <a:ext cx="8681987" cy="1077218"/>
          </a:xfrm>
          <a:prstGeom prst="rect">
            <a:avLst/>
          </a:prstGeom>
          <a:noFill/>
        </p:spPr>
        <p:txBody>
          <a:bodyPr wrap="square" rtlCol="0">
            <a:spAutoFit/>
          </a:bodyPr>
          <a:lstStyle/>
          <a:p>
            <a:pPr algn="l"/>
            <a:r>
              <a:rPr lang="en-US" sz="3200" b="1" i="0" dirty="0">
                <a:solidFill>
                  <a:srgbClr val="333333"/>
                </a:solidFill>
                <a:effectLst/>
                <a:latin typeface="Poppins" panose="00000500000000000000" pitchFamily="2" charset="0"/>
              </a:rPr>
              <a:t>ARM Template</a:t>
            </a:r>
          </a:p>
          <a:p>
            <a:endParaRPr lang="en-US" sz="3200" b="1" i="0" dirty="0">
              <a:solidFill>
                <a:srgbClr val="161616"/>
              </a:solidFill>
              <a:effectLst/>
              <a:latin typeface="Segoe UI" panose="020B0502040204020203" pitchFamily="34" charset="0"/>
            </a:endParaRPr>
          </a:p>
        </p:txBody>
      </p:sp>
      <p:sp>
        <p:nvSpPr>
          <p:cNvPr id="4" name="TextBox 3"/>
          <p:cNvSpPr txBox="1"/>
          <p:nvPr/>
        </p:nvSpPr>
        <p:spPr>
          <a:xfrm>
            <a:off x="577516" y="1580731"/>
            <a:ext cx="10376453" cy="2403030"/>
          </a:xfrm>
          <a:prstGeom prst="rect">
            <a:avLst/>
          </a:prstGeom>
          <a:noFill/>
        </p:spPr>
        <p:txBody>
          <a:bodyPr wrap="square" rtlCol="0">
            <a:spAutoFit/>
          </a:bodyPr>
          <a:lstStyle/>
          <a:p>
            <a:pPr marL="0" marR="0">
              <a:lnSpc>
                <a:spcPts val="2400"/>
              </a:lnSpc>
              <a:spcBef>
                <a:spcPts val="0"/>
              </a:spcBef>
              <a:spcAft>
                <a:spcPts val="3000"/>
              </a:spcAft>
            </a:pPr>
            <a:r>
              <a:rPr lang="en-US" sz="2400" dirty="0">
                <a:solidFill>
                  <a:srgbClr val="000000"/>
                </a:solidFill>
                <a:latin typeface="Noto Sans JP"/>
              </a:rPr>
              <a:t>A</a:t>
            </a:r>
            <a:r>
              <a:rPr lang="en-US" sz="2400" b="0" i="0" dirty="0">
                <a:solidFill>
                  <a:srgbClr val="000000"/>
                </a:solidFill>
                <a:effectLst/>
                <a:latin typeface="Noto Sans JP"/>
              </a:rPr>
              <a:t> block of code that defines the infrastructure and configuration for your project.</a:t>
            </a:r>
          </a:p>
          <a:p>
            <a:pPr marL="0" marR="0">
              <a:lnSpc>
                <a:spcPts val="2400"/>
              </a:lnSpc>
              <a:spcBef>
                <a:spcPts val="0"/>
              </a:spcBef>
              <a:spcAft>
                <a:spcPts val="3000"/>
              </a:spcAft>
            </a:pPr>
            <a:r>
              <a:rPr lang="en-US" sz="2400" b="0" i="0" dirty="0">
                <a:solidFill>
                  <a:srgbClr val="000000"/>
                </a:solidFill>
                <a:effectLst/>
                <a:latin typeface="Noto Sans JP"/>
              </a:rPr>
              <a:t> These templates use a declarative syntax to let you define your deployment in the form of JSON (JavaScript Object Notation) files. </a:t>
            </a:r>
          </a:p>
          <a:p>
            <a:pPr marL="0" marR="0">
              <a:lnSpc>
                <a:spcPts val="2400"/>
              </a:lnSpc>
              <a:spcBef>
                <a:spcPts val="0"/>
              </a:spcBef>
              <a:spcAft>
                <a:spcPts val="3000"/>
              </a:spcAft>
            </a:pPr>
            <a:r>
              <a:rPr lang="en-US" sz="2400" b="0" i="0" dirty="0">
                <a:solidFill>
                  <a:srgbClr val="000000"/>
                </a:solidFill>
                <a:effectLst/>
                <a:latin typeface="Noto Sans JP"/>
              </a:rPr>
              <a:t>All the resources and their properties are defined in this template. This helps in automating the deployment process in a constant flow.</a:t>
            </a:r>
            <a:endParaRPr lang="en-US" sz="24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7331135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9B5E2BD-2D7A-4954-89BC-66C64F0DB3B7}"/>
              </a:ext>
            </a:extLst>
          </p:cNvPr>
          <p:cNvSpPr txBox="1"/>
          <p:nvPr/>
        </p:nvSpPr>
        <p:spPr>
          <a:xfrm>
            <a:off x="577516" y="151776"/>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Azure Services</a:t>
            </a:r>
          </a:p>
        </p:txBody>
      </p:sp>
      <p:grpSp>
        <p:nvGrpSpPr>
          <p:cNvPr id="6" name="Group 5"/>
          <p:cNvGrpSpPr/>
          <p:nvPr/>
        </p:nvGrpSpPr>
        <p:grpSpPr>
          <a:xfrm>
            <a:off x="793181" y="1811225"/>
            <a:ext cx="10324776" cy="4543560"/>
            <a:chOff x="3447399" y="1815035"/>
            <a:chExt cx="4510419" cy="4543560"/>
          </a:xfrm>
        </p:grpSpPr>
        <p:sp>
          <p:nvSpPr>
            <p:cNvPr id="7" name="Freeform 6"/>
            <p:cNvSpPr/>
            <p:nvPr/>
          </p:nvSpPr>
          <p:spPr>
            <a:xfrm>
              <a:off x="3447399" y="5630915"/>
              <a:ext cx="4510419" cy="727680"/>
            </a:xfrm>
            <a:custGeom>
              <a:avLst/>
              <a:gdLst>
                <a:gd name="connsiteX0" fmla="*/ 0 w 4510419"/>
                <a:gd name="connsiteY0" fmla="*/ 72768 h 727680"/>
                <a:gd name="connsiteX1" fmla="*/ 72768 w 4510419"/>
                <a:gd name="connsiteY1" fmla="*/ 0 h 727680"/>
                <a:gd name="connsiteX2" fmla="*/ 4437651 w 4510419"/>
                <a:gd name="connsiteY2" fmla="*/ 0 h 727680"/>
                <a:gd name="connsiteX3" fmla="*/ 4510419 w 4510419"/>
                <a:gd name="connsiteY3" fmla="*/ 72768 h 727680"/>
                <a:gd name="connsiteX4" fmla="*/ 4510419 w 4510419"/>
                <a:gd name="connsiteY4" fmla="*/ 654912 h 727680"/>
                <a:gd name="connsiteX5" fmla="*/ 4437651 w 4510419"/>
                <a:gd name="connsiteY5" fmla="*/ 727680 h 727680"/>
                <a:gd name="connsiteX6" fmla="*/ 72768 w 4510419"/>
                <a:gd name="connsiteY6" fmla="*/ 727680 h 727680"/>
                <a:gd name="connsiteX7" fmla="*/ 0 w 4510419"/>
                <a:gd name="connsiteY7" fmla="*/ 654912 h 727680"/>
                <a:gd name="connsiteX8" fmla="*/ 0 w 4510419"/>
                <a:gd name="connsiteY8" fmla="*/ 72768 h 727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0419" h="727680">
                  <a:moveTo>
                    <a:pt x="0" y="72768"/>
                  </a:moveTo>
                  <a:cubicBezTo>
                    <a:pt x="0" y="32579"/>
                    <a:pt x="32579" y="0"/>
                    <a:pt x="72768" y="0"/>
                  </a:cubicBezTo>
                  <a:lnTo>
                    <a:pt x="4437651" y="0"/>
                  </a:lnTo>
                  <a:cubicBezTo>
                    <a:pt x="4477840" y="0"/>
                    <a:pt x="4510419" y="32579"/>
                    <a:pt x="4510419" y="72768"/>
                  </a:cubicBezTo>
                  <a:lnTo>
                    <a:pt x="4510419" y="654912"/>
                  </a:lnTo>
                  <a:cubicBezTo>
                    <a:pt x="4510419" y="695101"/>
                    <a:pt x="4477840" y="727680"/>
                    <a:pt x="4437651" y="727680"/>
                  </a:cubicBezTo>
                  <a:lnTo>
                    <a:pt x="72768" y="727680"/>
                  </a:lnTo>
                  <a:cubicBezTo>
                    <a:pt x="32579" y="727680"/>
                    <a:pt x="0" y="695101"/>
                    <a:pt x="0" y="654912"/>
                  </a:cubicBezTo>
                  <a:lnTo>
                    <a:pt x="0" y="7276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513" tIns="97513" rIns="97513" bIns="97513" numCol="1" spcCol="1270" anchor="ctr" anchorCtr="0">
              <a:noAutofit/>
            </a:bodyPr>
            <a:lstStyle/>
            <a:p>
              <a:pPr lvl="0" algn="ctr" defTabSz="889000">
                <a:lnSpc>
                  <a:spcPct val="90000"/>
                </a:lnSpc>
                <a:spcBef>
                  <a:spcPct val="0"/>
                </a:spcBef>
                <a:spcAft>
                  <a:spcPct val="35000"/>
                </a:spcAft>
              </a:pPr>
              <a:r>
                <a:rPr lang="en-US" sz="2000" b="0" kern="1200" dirty="0"/>
                <a:t>Storage</a:t>
              </a:r>
            </a:p>
          </p:txBody>
        </p:sp>
        <p:sp>
          <p:nvSpPr>
            <p:cNvPr id="8" name="Freeform 7"/>
            <p:cNvSpPr/>
            <p:nvPr/>
          </p:nvSpPr>
          <p:spPr>
            <a:xfrm>
              <a:off x="3454012" y="4867739"/>
              <a:ext cx="4501614" cy="727680"/>
            </a:xfrm>
            <a:custGeom>
              <a:avLst/>
              <a:gdLst>
                <a:gd name="connsiteX0" fmla="*/ 0 w 4501614"/>
                <a:gd name="connsiteY0" fmla="*/ 72768 h 727680"/>
                <a:gd name="connsiteX1" fmla="*/ 72768 w 4501614"/>
                <a:gd name="connsiteY1" fmla="*/ 0 h 727680"/>
                <a:gd name="connsiteX2" fmla="*/ 4428846 w 4501614"/>
                <a:gd name="connsiteY2" fmla="*/ 0 h 727680"/>
                <a:gd name="connsiteX3" fmla="*/ 4501614 w 4501614"/>
                <a:gd name="connsiteY3" fmla="*/ 72768 h 727680"/>
                <a:gd name="connsiteX4" fmla="*/ 4501614 w 4501614"/>
                <a:gd name="connsiteY4" fmla="*/ 654912 h 727680"/>
                <a:gd name="connsiteX5" fmla="*/ 4428846 w 4501614"/>
                <a:gd name="connsiteY5" fmla="*/ 727680 h 727680"/>
                <a:gd name="connsiteX6" fmla="*/ 72768 w 4501614"/>
                <a:gd name="connsiteY6" fmla="*/ 727680 h 727680"/>
                <a:gd name="connsiteX7" fmla="*/ 0 w 4501614"/>
                <a:gd name="connsiteY7" fmla="*/ 654912 h 727680"/>
                <a:gd name="connsiteX8" fmla="*/ 0 w 4501614"/>
                <a:gd name="connsiteY8" fmla="*/ 72768 h 727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01614" h="727680">
                  <a:moveTo>
                    <a:pt x="0" y="72768"/>
                  </a:moveTo>
                  <a:cubicBezTo>
                    <a:pt x="0" y="32579"/>
                    <a:pt x="32579" y="0"/>
                    <a:pt x="72768" y="0"/>
                  </a:cubicBezTo>
                  <a:lnTo>
                    <a:pt x="4428846" y="0"/>
                  </a:lnTo>
                  <a:cubicBezTo>
                    <a:pt x="4469035" y="0"/>
                    <a:pt x="4501614" y="32579"/>
                    <a:pt x="4501614" y="72768"/>
                  </a:cubicBezTo>
                  <a:lnTo>
                    <a:pt x="4501614" y="654912"/>
                  </a:lnTo>
                  <a:cubicBezTo>
                    <a:pt x="4501614" y="695101"/>
                    <a:pt x="4469035" y="727680"/>
                    <a:pt x="4428846" y="727680"/>
                  </a:cubicBezTo>
                  <a:lnTo>
                    <a:pt x="72768" y="727680"/>
                  </a:lnTo>
                  <a:cubicBezTo>
                    <a:pt x="32579" y="727680"/>
                    <a:pt x="0" y="695101"/>
                    <a:pt x="0" y="654912"/>
                  </a:cubicBezTo>
                  <a:lnTo>
                    <a:pt x="0" y="7276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513" tIns="97513" rIns="97513" bIns="97513" numCol="1" spcCol="1270" anchor="ctr" anchorCtr="0">
              <a:noAutofit/>
            </a:bodyPr>
            <a:lstStyle/>
            <a:p>
              <a:pPr lvl="0" algn="ctr" defTabSz="889000">
                <a:lnSpc>
                  <a:spcPct val="90000"/>
                </a:lnSpc>
                <a:spcBef>
                  <a:spcPct val="0"/>
                </a:spcBef>
                <a:spcAft>
                  <a:spcPct val="35000"/>
                </a:spcAft>
              </a:pPr>
              <a:r>
                <a:rPr lang="en-US" sz="2000" b="0" kern="1200" dirty="0"/>
                <a:t>Network</a:t>
              </a:r>
            </a:p>
          </p:txBody>
        </p:sp>
        <p:sp>
          <p:nvSpPr>
            <p:cNvPr id="9" name="Freeform 8"/>
            <p:cNvSpPr/>
            <p:nvPr/>
          </p:nvSpPr>
          <p:spPr>
            <a:xfrm>
              <a:off x="3462791" y="4105367"/>
              <a:ext cx="4484055" cy="727680"/>
            </a:xfrm>
            <a:custGeom>
              <a:avLst/>
              <a:gdLst>
                <a:gd name="connsiteX0" fmla="*/ 0 w 4484055"/>
                <a:gd name="connsiteY0" fmla="*/ 72768 h 727680"/>
                <a:gd name="connsiteX1" fmla="*/ 72768 w 4484055"/>
                <a:gd name="connsiteY1" fmla="*/ 0 h 727680"/>
                <a:gd name="connsiteX2" fmla="*/ 4411287 w 4484055"/>
                <a:gd name="connsiteY2" fmla="*/ 0 h 727680"/>
                <a:gd name="connsiteX3" fmla="*/ 4484055 w 4484055"/>
                <a:gd name="connsiteY3" fmla="*/ 72768 h 727680"/>
                <a:gd name="connsiteX4" fmla="*/ 4484055 w 4484055"/>
                <a:gd name="connsiteY4" fmla="*/ 654912 h 727680"/>
                <a:gd name="connsiteX5" fmla="*/ 4411287 w 4484055"/>
                <a:gd name="connsiteY5" fmla="*/ 727680 h 727680"/>
                <a:gd name="connsiteX6" fmla="*/ 72768 w 4484055"/>
                <a:gd name="connsiteY6" fmla="*/ 727680 h 727680"/>
                <a:gd name="connsiteX7" fmla="*/ 0 w 4484055"/>
                <a:gd name="connsiteY7" fmla="*/ 654912 h 727680"/>
                <a:gd name="connsiteX8" fmla="*/ 0 w 4484055"/>
                <a:gd name="connsiteY8" fmla="*/ 72768 h 727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4055" h="727680">
                  <a:moveTo>
                    <a:pt x="0" y="72768"/>
                  </a:moveTo>
                  <a:cubicBezTo>
                    <a:pt x="0" y="32579"/>
                    <a:pt x="32579" y="0"/>
                    <a:pt x="72768" y="0"/>
                  </a:cubicBezTo>
                  <a:lnTo>
                    <a:pt x="4411287" y="0"/>
                  </a:lnTo>
                  <a:cubicBezTo>
                    <a:pt x="4451476" y="0"/>
                    <a:pt x="4484055" y="32579"/>
                    <a:pt x="4484055" y="72768"/>
                  </a:cubicBezTo>
                  <a:lnTo>
                    <a:pt x="4484055" y="654912"/>
                  </a:lnTo>
                  <a:cubicBezTo>
                    <a:pt x="4484055" y="695101"/>
                    <a:pt x="4451476" y="727680"/>
                    <a:pt x="4411287" y="727680"/>
                  </a:cubicBezTo>
                  <a:lnTo>
                    <a:pt x="72768" y="727680"/>
                  </a:lnTo>
                  <a:cubicBezTo>
                    <a:pt x="32579" y="727680"/>
                    <a:pt x="0" y="695101"/>
                    <a:pt x="0" y="654912"/>
                  </a:cubicBezTo>
                  <a:lnTo>
                    <a:pt x="0" y="7276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513" tIns="97513" rIns="97513" bIns="97513" numCol="1" spcCol="1270" anchor="ctr" anchorCtr="0">
              <a:noAutofit/>
            </a:bodyPr>
            <a:lstStyle/>
            <a:p>
              <a:pPr lvl="0" algn="ctr" defTabSz="889000">
                <a:lnSpc>
                  <a:spcPct val="90000"/>
                </a:lnSpc>
                <a:spcBef>
                  <a:spcPct val="0"/>
                </a:spcBef>
                <a:spcAft>
                  <a:spcPct val="35000"/>
                </a:spcAft>
              </a:pPr>
              <a:r>
                <a:rPr lang="en-US" sz="2000" b="0" kern="1200" dirty="0"/>
                <a:t>Compute</a:t>
              </a:r>
            </a:p>
          </p:txBody>
        </p:sp>
        <p:sp>
          <p:nvSpPr>
            <p:cNvPr id="10" name="Freeform 9"/>
            <p:cNvSpPr/>
            <p:nvPr/>
          </p:nvSpPr>
          <p:spPr>
            <a:xfrm>
              <a:off x="3480247" y="3342995"/>
              <a:ext cx="2154636" cy="727680"/>
            </a:xfrm>
            <a:custGeom>
              <a:avLst/>
              <a:gdLst>
                <a:gd name="connsiteX0" fmla="*/ 0 w 4449143"/>
                <a:gd name="connsiteY0" fmla="*/ 72768 h 727680"/>
                <a:gd name="connsiteX1" fmla="*/ 72768 w 4449143"/>
                <a:gd name="connsiteY1" fmla="*/ 0 h 727680"/>
                <a:gd name="connsiteX2" fmla="*/ 4376375 w 4449143"/>
                <a:gd name="connsiteY2" fmla="*/ 0 h 727680"/>
                <a:gd name="connsiteX3" fmla="*/ 4449143 w 4449143"/>
                <a:gd name="connsiteY3" fmla="*/ 72768 h 727680"/>
                <a:gd name="connsiteX4" fmla="*/ 4449143 w 4449143"/>
                <a:gd name="connsiteY4" fmla="*/ 654912 h 727680"/>
                <a:gd name="connsiteX5" fmla="*/ 4376375 w 4449143"/>
                <a:gd name="connsiteY5" fmla="*/ 727680 h 727680"/>
                <a:gd name="connsiteX6" fmla="*/ 72768 w 4449143"/>
                <a:gd name="connsiteY6" fmla="*/ 727680 h 727680"/>
                <a:gd name="connsiteX7" fmla="*/ 0 w 4449143"/>
                <a:gd name="connsiteY7" fmla="*/ 654912 h 727680"/>
                <a:gd name="connsiteX8" fmla="*/ 0 w 4449143"/>
                <a:gd name="connsiteY8" fmla="*/ 72768 h 727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143" h="727680">
                  <a:moveTo>
                    <a:pt x="0" y="72768"/>
                  </a:moveTo>
                  <a:cubicBezTo>
                    <a:pt x="0" y="32579"/>
                    <a:pt x="32579" y="0"/>
                    <a:pt x="72768" y="0"/>
                  </a:cubicBezTo>
                  <a:lnTo>
                    <a:pt x="4376375" y="0"/>
                  </a:lnTo>
                  <a:cubicBezTo>
                    <a:pt x="4416564" y="0"/>
                    <a:pt x="4449143" y="32579"/>
                    <a:pt x="4449143" y="72768"/>
                  </a:cubicBezTo>
                  <a:lnTo>
                    <a:pt x="4449143" y="654912"/>
                  </a:lnTo>
                  <a:cubicBezTo>
                    <a:pt x="4449143" y="695101"/>
                    <a:pt x="4416564" y="727680"/>
                    <a:pt x="4376375" y="727680"/>
                  </a:cubicBezTo>
                  <a:lnTo>
                    <a:pt x="72768" y="727680"/>
                  </a:lnTo>
                  <a:cubicBezTo>
                    <a:pt x="32579" y="727680"/>
                    <a:pt x="0" y="695101"/>
                    <a:pt x="0" y="654912"/>
                  </a:cubicBezTo>
                  <a:lnTo>
                    <a:pt x="0" y="7276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513" tIns="97513" rIns="97513" bIns="97513" numCol="1" spcCol="1270" anchor="ctr" anchorCtr="0">
              <a:noAutofit/>
            </a:bodyPr>
            <a:lstStyle/>
            <a:p>
              <a:pPr lvl="0" algn="ctr" defTabSz="889000">
                <a:lnSpc>
                  <a:spcPct val="90000"/>
                </a:lnSpc>
                <a:spcBef>
                  <a:spcPct val="0"/>
                </a:spcBef>
                <a:spcAft>
                  <a:spcPct val="35000"/>
                </a:spcAft>
              </a:pPr>
              <a:r>
                <a:rPr lang="en-US" sz="2000" b="0" kern="1200"/>
                <a:t>Database</a:t>
              </a:r>
              <a:endParaRPr lang="en-US" sz="2000" b="0" kern="1200" dirty="0"/>
            </a:p>
          </p:txBody>
        </p:sp>
        <p:sp>
          <p:nvSpPr>
            <p:cNvPr id="11" name="Freeform 10"/>
            <p:cNvSpPr/>
            <p:nvPr/>
          </p:nvSpPr>
          <p:spPr>
            <a:xfrm>
              <a:off x="5680148" y="3342191"/>
              <a:ext cx="2266698" cy="727680"/>
            </a:xfrm>
            <a:custGeom>
              <a:avLst/>
              <a:gdLst>
                <a:gd name="connsiteX0" fmla="*/ 0 w 4380132"/>
                <a:gd name="connsiteY0" fmla="*/ 72768 h 727680"/>
                <a:gd name="connsiteX1" fmla="*/ 72768 w 4380132"/>
                <a:gd name="connsiteY1" fmla="*/ 0 h 727680"/>
                <a:gd name="connsiteX2" fmla="*/ 4307364 w 4380132"/>
                <a:gd name="connsiteY2" fmla="*/ 0 h 727680"/>
                <a:gd name="connsiteX3" fmla="*/ 4380132 w 4380132"/>
                <a:gd name="connsiteY3" fmla="*/ 72768 h 727680"/>
                <a:gd name="connsiteX4" fmla="*/ 4380132 w 4380132"/>
                <a:gd name="connsiteY4" fmla="*/ 654912 h 727680"/>
                <a:gd name="connsiteX5" fmla="*/ 4307364 w 4380132"/>
                <a:gd name="connsiteY5" fmla="*/ 727680 h 727680"/>
                <a:gd name="connsiteX6" fmla="*/ 72768 w 4380132"/>
                <a:gd name="connsiteY6" fmla="*/ 727680 h 727680"/>
                <a:gd name="connsiteX7" fmla="*/ 0 w 4380132"/>
                <a:gd name="connsiteY7" fmla="*/ 654912 h 727680"/>
                <a:gd name="connsiteX8" fmla="*/ 0 w 4380132"/>
                <a:gd name="connsiteY8" fmla="*/ 72768 h 727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80132" h="727680">
                  <a:moveTo>
                    <a:pt x="0" y="72768"/>
                  </a:moveTo>
                  <a:cubicBezTo>
                    <a:pt x="0" y="32579"/>
                    <a:pt x="32579" y="0"/>
                    <a:pt x="72768" y="0"/>
                  </a:cubicBezTo>
                  <a:lnTo>
                    <a:pt x="4307364" y="0"/>
                  </a:lnTo>
                  <a:cubicBezTo>
                    <a:pt x="4347553" y="0"/>
                    <a:pt x="4380132" y="32579"/>
                    <a:pt x="4380132" y="72768"/>
                  </a:cubicBezTo>
                  <a:lnTo>
                    <a:pt x="4380132" y="654912"/>
                  </a:lnTo>
                  <a:cubicBezTo>
                    <a:pt x="4380132" y="695101"/>
                    <a:pt x="4347553" y="727680"/>
                    <a:pt x="4307364" y="727680"/>
                  </a:cubicBezTo>
                  <a:lnTo>
                    <a:pt x="72768" y="727680"/>
                  </a:lnTo>
                  <a:cubicBezTo>
                    <a:pt x="32579" y="727680"/>
                    <a:pt x="0" y="695101"/>
                    <a:pt x="0" y="654912"/>
                  </a:cubicBezTo>
                  <a:lnTo>
                    <a:pt x="0" y="7276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513" tIns="97513" rIns="97513" bIns="97513" numCol="1" spcCol="1270" anchor="ctr" anchorCtr="0">
              <a:noAutofit/>
            </a:bodyPr>
            <a:lstStyle/>
            <a:p>
              <a:pPr lvl="0" algn="ctr" defTabSz="889000">
                <a:lnSpc>
                  <a:spcPct val="90000"/>
                </a:lnSpc>
                <a:spcBef>
                  <a:spcPct val="0"/>
                </a:spcBef>
                <a:spcAft>
                  <a:spcPct val="35000"/>
                </a:spcAft>
              </a:pPr>
              <a:r>
                <a:rPr lang="en-US" sz="2000" b="0" kern="1200" dirty="0"/>
                <a:t>App Service</a:t>
              </a:r>
            </a:p>
          </p:txBody>
        </p:sp>
        <p:sp>
          <p:nvSpPr>
            <p:cNvPr id="12" name="Freeform 11"/>
            <p:cNvSpPr/>
            <p:nvPr/>
          </p:nvSpPr>
          <p:spPr>
            <a:xfrm>
              <a:off x="3480247" y="2577407"/>
              <a:ext cx="4475379" cy="727680"/>
            </a:xfrm>
            <a:custGeom>
              <a:avLst/>
              <a:gdLst>
                <a:gd name="connsiteX0" fmla="*/ 0 w 4202065"/>
                <a:gd name="connsiteY0" fmla="*/ 72768 h 727680"/>
                <a:gd name="connsiteX1" fmla="*/ 72768 w 4202065"/>
                <a:gd name="connsiteY1" fmla="*/ 0 h 727680"/>
                <a:gd name="connsiteX2" fmla="*/ 4129297 w 4202065"/>
                <a:gd name="connsiteY2" fmla="*/ 0 h 727680"/>
                <a:gd name="connsiteX3" fmla="*/ 4202065 w 4202065"/>
                <a:gd name="connsiteY3" fmla="*/ 72768 h 727680"/>
                <a:gd name="connsiteX4" fmla="*/ 4202065 w 4202065"/>
                <a:gd name="connsiteY4" fmla="*/ 654912 h 727680"/>
                <a:gd name="connsiteX5" fmla="*/ 4129297 w 4202065"/>
                <a:gd name="connsiteY5" fmla="*/ 727680 h 727680"/>
                <a:gd name="connsiteX6" fmla="*/ 72768 w 4202065"/>
                <a:gd name="connsiteY6" fmla="*/ 727680 h 727680"/>
                <a:gd name="connsiteX7" fmla="*/ 0 w 4202065"/>
                <a:gd name="connsiteY7" fmla="*/ 654912 h 727680"/>
                <a:gd name="connsiteX8" fmla="*/ 0 w 4202065"/>
                <a:gd name="connsiteY8" fmla="*/ 72768 h 727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2065" h="727680">
                  <a:moveTo>
                    <a:pt x="0" y="72768"/>
                  </a:moveTo>
                  <a:cubicBezTo>
                    <a:pt x="0" y="32579"/>
                    <a:pt x="32579" y="0"/>
                    <a:pt x="72768" y="0"/>
                  </a:cubicBezTo>
                  <a:lnTo>
                    <a:pt x="4129297" y="0"/>
                  </a:lnTo>
                  <a:cubicBezTo>
                    <a:pt x="4169486" y="0"/>
                    <a:pt x="4202065" y="32579"/>
                    <a:pt x="4202065" y="72768"/>
                  </a:cubicBezTo>
                  <a:lnTo>
                    <a:pt x="4202065" y="654912"/>
                  </a:lnTo>
                  <a:cubicBezTo>
                    <a:pt x="4202065" y="695101"/>
                    <a:pt x="4169486" y="727680"/>
                    <a:pt x="4129297" y="727680"/>
                  </a:cubicBezTo>
                  <a:lnTo>
                    <a:pt x="72768" y="727680"/>
                  </a:lnTo>
                  <a:cubicBezTo>
                    <a:pt x="32579" y="727680"/>
                    <a:pt x="0" y="695101"/>
                    <a:pt x="0" y="654912"/>
                  </a:cubicBezTo>
                  <a:lnTo>
                    <a:pt x="0" y="7276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513" tIns="97513" rIns="97513" bIns="97513" numCol="1" spcCol="1270" anchor="ctr" anchorCtr="0">
              <a:noAutofit/>
            </a:bodyPr>
            <a:lstStyle/>
            <a:p>
              <a:pPr lvl="0" algn="ctr" defTabSz="889000">
                <a:lnSpc>
                  <a:spcPct val="90000"/>
                </a:lnSpc>
                <a:spcBef>
                  <a:spcPct val="0"/>
                </a:spcBef>
                <a:spcAft>
                  <a:spcPct val="35000"/>
                </a:spcAft>
              </a:pPr>
              <a:r>
                <a:rPr lang="en-US" sz="2000" b="0" kern="1200" dirty="0"/>
                <a:t>Security</a:t>
              </a:r>
            </a:p>
          </p:txBody>
        </p:sp>
        <p:sp>
          <p:nvSpPr>
            <p:cNvPr id="13" name="Freeform 12"/>
            <p:cNvSpPr/>
            <p:nvPr/>
          </p:nvSpPr>
          <p:spPr>
            <a:xfrm>
              <a:off x="3480247" y="1815035"/>
              <a:ext cx="4466599" cy="727680"/>
            </a:xfrm>
            <a:custGeom>
              <a:avLst/>
              <a:gdLst>
                <a:gd name="connsiteX0" fmla="*/ 0 w 2078460"/>
                <a:gd name="connsiteY0" fmla="*/ 72768 h 727680"/>
                <a:gd name="connsiteX1" fmla="*/ 72768 w 2078460"/>
                <a:gd name="connsiteY1" fmla="*/ 0 h 727680"/>
                <a:gd name="connsiteX2" fmla="*/ 2005692 w 2078460"/>
                <a:gd name="connsiteY2" fmla="*/ 0 h 727680"/>
                <a:gd name="connsiteX3" fmla="*/ 2078460 w 2078460"/>
                <a:gd name="connsiteY3" fmla="*/ 72768 h 727680"/>
                <a:gd name="connsiteX4" fmla="*/ 2078460 w 2078460"/>
                <a:gd name="connsiteY4" fmla="*/ 654912 h 727680"/>
                <a:gd name="connsiteX5" fmla="*/ 2005692 w 2078460"/>
                <a:gd name="connsiteY5" fmla="*/ 727680 h 727680"/>
                <a:gd name="connsiteX6" fmla="*/ 72768 w 2078460"/>
                <a:gd name="connsiteY6" fmla="*/ 727680 h 727680"/>
                <a:gd name="connsiteX7" fmla="*/ 0 w 2078460"/>
                <a:gd name="connsiteY7" fmla="*/ 654912 h 727680"/>
                <a:gd name="connsiteX8" fmla="*/ 0 w 2078460"/>
                <a:gd name="connsiteY8" fmla="*/ 72768 h 727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8460" h="727680">
                  <a:moveTo>
                    <a:pt x="0" y="72768"/>
                  </a:moveTo>
                  <a:cubicBezTo>
                    <a:pt x="0" y="32579"/>
                    <a:pt x="32579" y="0"/>
                    <a:pt x="72768" y="0"/>
                  </a:cubicBezTo>
                  <a:lnTo>
                    <a:pt x="2005692" y="0"/>
                  </a:lnTo>
                  <a:cubicBezTo>
                    <a:pt x="2045881" y="0"/>
                    <a:pt x="2078460" y="32579"/>
                    <a:pt x="2078460" y="72768"/>
                  </a:cubicBezTo>
                  <a:lnTo>
                    <a:pt x="2078460" y="654912"/>
                  </a:lnTo>
                  <a:cubicBezTo>
                    <a:pt x="2078460" y="695101"/>
                    <a:pt x="2045881" y="727680"/>
                    <a:pt x="2005692" y="727680"/>
                  </a:cubicBezTo>
                  <a:lnTo>
                    <a:pt x="72768" y="727680"/>
                  </a:lnTo>
                  <a:cubicBezTo>
                    <a:pt x="32579" y="727680"/>
                    <a:pt x="0" y="695101"/>
                    <a:pt x="0" y="654912"/>
                  </a:cubicBezTo>
                  <a:lnTo>
                    <a:pt x="0" y="7276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513" tIns="97513" rIns="97513" bIns="97513" numCol="1" spcCol="1270" anchor="ctr" anchorCtr="0">
              <a:noAutofit/>
            </a:bodyPr>
            <a:lstStyle/>
            <a:p>
              <a:pPr lvl="0" algn="ctr" defTabSz="889000">
                <a:lnSpc>
                  <a:spcPct val="90000"/>
                </a:lnSpc>
                <a:spcBef>
                  <a:spcPct val="0"/>
                </a:spcBef>
                <a:spcAft>
                  <a:spcPct val="35000"/>
                </a:spcAft>
              </a:pPr>
              <a:r>
                <a:rPr lang="en-US" sz="2000" b="0" kern="1200" dirty="0"/>
                <a:t>Monitoring</a:t>
              </a:r>
            </a:p>
          </p:txBody>
        </p:sp>
      </p:grpSp>
      <p:sp>
        <p:nvSpPr>
          <p:cNvPr id="3" name="TextBox 2"/>
          <p:cNvSpPr txBox="1"/>
          <p:nvPr/>
        </p:nvSpPr>
        <p:spPr>
          <a:xfrm>
            <a:off x="793181" y="914447"/>
            <a:ext cx="10418158" cy="738664"/>
          </a:xfrm>
          <a:prstGeom prst="rect">
            <a:avLst/>
          </a:prstGeom>
          <a:noFill/>
        </p:spPr>
        <p:txBody>
          <a:bodyPr wrap="square" rtlCol="0">
            <a:spAutoFit/>
          </a:bodyPr>
          <a:lstStyle/>
          <a:p>
            <a:pPr marL="342900" indent="-342900">
              <a:buFont typeface="Arial" panose="020B0604020202020204" pitchFamily="34" charset="0"/>
              <a:buChar char="•"/>
            </a:pPr>
            <a:r>
              <a:rPr lang="en-US" sz="2400" dirty="0"/>
              <a:t>The world of Azure is large and changes fast. </a:t>
            </a:r>
          </a:p>
          <a:p>
            <a:endParaRPr lang="en-US" dirty="0"/>
          </a:p>
        </p:txBody>
      </p:sp>
    </p:spTree>
    <p:extLst>
      <p:ext uri="{BB962C8B-B14F-4D97-AF65-F5344CB8AC3E}">
        <p14:creationId xmlns:p14="http://schemas.microsoft.com/office/powerpoint/2010/main" val="30167503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327257"/>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Azure Storage Service</a:t>
            </a:r>
          </a:p>
        </p:txBody>
      </p:sp>
      <p:grpSp>
        <p:nvGrpSpPr>
          <p:cNvPr id="31" name="Group 30"/>
          <p:cNvGrpSpPr/>
          <p:nvPr/>
        </p:nvGrpSpPr>
        <p:grpSpPr>
          <a:xfrm>
            <a:off x="577516" y="1281443"/>
            <a:ext cx="11011300" cy="5076987"/>
            <a:chOff x="577516" y="1281443"/>
            <a:chExt cx="11011300" cy="5076987"/>
          </a:xfrm>
        </p:grpSpPr>
        <p:sp>
          <p:nvSpPr>
            <p:cNvPr id="3" name="AutoShape 4" descr="Image result for Microsoft Azure">
              <a:extLst>
                <a:ext uri="{FF2B5EF4-FFF2-40B4-BE49-F238E27FC236}">
                  <a16:creationId xmlns:a16="http://schemas.microsoft.com/office/drawing/2014/main" id="{22936C06-2E22-482B-9048-FF93A278CC2E}"/>
                </a:ext>
              </a:extLst>
            </p:cNvPr>
            <p:cNvSpPr>
              <a:spLocks noChangeAspect="1" noChangeArrowheads="1"/>
            </p:cNvSpPr>
            <p:nvPr/>
          </p:nvSpPr>
          <p:spPr bwMode="auto">
            <a:xfrm>
              <a:off x="574369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5"/>
            <p:cNvSpPr/>
            <p:nvPr/>
          </p:nvSpPr>
          <p:spPr>
            <a:xfrm>
              <a:off x="4034068" y="5962573"/>
              <a:ext cx="459379" cy="91440"/>
            </a:xfrm>
            <a:custGeom>
              <a:avLst/>
              <a:gdLst>
                <a:gd name="connsiteX0" fmla="*/ 0 w 459379"/>
                <a:gd name="connsiteY0" fmla="*/ 45720 h 91440"/>
                <a:gd name="connsiteX1" fmla="*/ 459379 w 459379"/>
                <a:gd name="connsiteY1" fmla="*/ 45720 h 91440"/>
              </a:gdLst>
              <a:ahLst/>
              <a:cxnLst>
                <a:cxn ang="0">
                  <a:pos x="connsiteX0" y="connsiteY0"/>
                </a:cxn>
                <a:cxn ang="0">
                  <a:pos x="connsiteX1" y="connsiteY1"/>
                </a:cxn>
              </a:cxnLst>
              <a:rect l="l" t="t" r="r" b="b"/>
              <a:pathLst>
                <a:path w="459379" h="91440">
                  <a:moveTo>
                    <a:pt x="0" y="45720"/>
                  </a:moveTo>
                  <a:lnTo>
                    <a:pt x="459379"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0906" tIns="34235" rIns="230905" bIns="34237" numCol="1" spcCol="1270" anchor="ctr" anchorCtr="0">
              <a:noAutofit/>
            </a:bodyPr>
            <a:lstStyle/>
            <a:p>
              <a:pPr lvl="0" algn="ctr" defTabSz="222250">
                <a:lnSpc>
                  <a:spcPct val="90000"/>
                </a:lnSpc>
                <a:spcBef>
                  <a:spcPct val="0"/>
                </a:spcBef>
                <a:spcAft>
                  <a:spcPct val="35000"/>
                </a:spcAft>
              </a:pPr>
              <a:endParaRPr lang="en-US" sz="500" kern="1200"/>
            </a:p>
          </p:txBody>
        </p:sp>
        <p:sp>
          <p:nvSpPr>
            <p:cNvPr id="7" name="Freeform 6"/>
            <p:cNvSpPr/>
            <p:nvPr/>
          </p:nvSpPr>
          <p:spPr>
            <a:xfrm>
              <a:off x="1277790" y="3819937"/>
              <a:ext cx="459379" cy="2188356"/>
            </a:xfrm>
            <a:custGeom>
              <a:avLst/>
              <a:gdLst>
                <a:gd name="connsiteX0" fmla="*/ 0 w 459379"/>
                <a:gd name="connsiteY0" fmla="*/ 0 h 2188356"/>
                <a:gd name="connsiteX1" fmla="*/ 229689 w 459379"/>
                <a:gd name="connsiteY1" fmla="*/ 0 h 2188356"/>
                <a:gd name="connsiteX2" fmla="*/ 229689 w 459379"/>
                <a:gd name="connsiteY2" fmla="*/ 2188356 h 2188356"/>
                <a:gd name="connsiteX3" fmla="*/ 459379 w 459379"/>
                <a:gd name="connsiteY3" fmla="*/ 2188356 h 2188356"/>
              </a:gdLst>
              <a:ahLst/>
              <a:cxnLst>
                <a:cxn ang="0">
                  <a:pos x="connsiteX0" y="connsiteY0"/>
                </a:cxn>
                <a:cxn ang="0">
                  <a:pos x="connsiteX1" y="connsiteY1"/>
                </a:cxn>
                <a:cxn ang="0">
                  <a:pos x="connsiteX2" y="connsiteY2"/>
                </a:cxn>
                <a:cxn ang="0">
                  <a:pos x="connsiteX3" y="connsiteY3"/>
                </a:cxn>
              </a:cxnLst>
              <a:rect l="l" t="t" r="r" b="b"/>
              <a:pathLst>
                <a:path w="459379" h="2188356">
                  <a:moveTo>
                    <a:pt x="0" y="0"/>
                  </a:moveTo>
                  <a:lnTo>
                    <a:pt x="229689" y="0"/>
                  </a:lnTo>
                  <a:lnTo>
                    <a:pt x="229689" y="2188356"/>
                  </a:lnTo>
                  <a:lnTo>
                    <a:pt x="459379" y="2188356"/>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186488" tIns="1038276" rIns="186489" bIns="1038278" numCol="1" spcCol="1270" anchor="ctr" anchorCtr="0">
              <a:noAutofit/>
            </a:bodyPr>
            <a:lstStyle/>
            <a:p>
              <a:pPr lvl="0" algn="ctr" defTabSz="355600">
                <a:lnSpc>
                  <a:spcPct val="90000"/>
                </a:lnSpc>
                <a:spcBef>
                  <a:spcPct val="0"/>
                </a:spcBef>
                <a:spcAft>
                  <a:spcPct val="35000"/>
                </a:spcAft>
              </a:pPr>
              <a:endParaRPr lang="en-US" sz="800" kern="1200"/>
            </a:p>
          </p:txBody>
        </p:sp>
        <p:sp>
          <p:nvSpPr>
            <p:cNvPr id="8" name="Freeform 7"/>
            <p:cNvSpPr/>
            <p:nvPr/>
          </p:nvSpPr>
          <p:spPr>
            <a:xfrm>
              <a:off x="4034068" y="5087230"/>
              <a:ext cx="459379" cy="91440"/>
            </a:xfrm>
            <a:custGeom>
              <a:avLst/>
              <a:gdLst>
                <a:gd name="connsiteX0" fmla="*/ 0 w 459379"/>
                <a:gd name="connsiteY0" fmla="*/ 45720 h 91440"/>
                <a:gd name="connsiteX1" fmla="*/ 459379 w 459379"/>
                <a:gd name="connsiteY1" fmla="*/ 45720 h 91440"/>
              </a:gdLst>
              <a:ahLst/>
              <a:cxnLst>
                <a:cxn ang="0">
                  <a:pos x="connsiteX0" y="connsiteY0"/>
                </a:cxn>
                <a:cxn ang="0">
                  <a:pos x="connsiteX1" y="connsiteY1"/>
                </a:cxn>
              </a:cxnLst>
              <a:rect l="l" t="t" r="r" b="b"/>
              <a:pathLst>
                <a:path w="459379" h="91440">
                  <a:moveTo>
                    <a:pt x="0" y="45720"/>
                  </a:moveTo>
                  <a:lnTo>
                    <a:pt x="459379"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0906" tIns="34236" rIns="230905" bIns="34236" numCol="1" spcCol="1270" anchor="ctr" anchorCtr="0">
              <a:noAutofit/>
            </a:bodyPr>
            <a:lstStyle/>
            <a:p>
              <a:pPr lvl="0" algn="ctr" defTabSz="222250">
                <a:lnSpc>
                  <a:spcPct val="90000"/>
                </a:lnSpc>
                <a:spcBef>
                  <a:spcPct val="0"/>
                </a:spcBef>
                <a:spcAft>
                  <a:spcPct val="35000"/>
                </a:spcAft>
              </a:pPr>
              <a:endParaRPr lang="en-US" sz="500" kern="1200"/>
            </a:p>
          </p:txBody>
        </p:sp>
        <p:sp>
          <p:nvSpPr>
            <p:cNvPr id="9" name="Freeform 8"/>
            <p:cNvSpPr/>
            <p:nvPr/>
          </p:nvSpPr>
          <p:spPr>
            <a:xfrm>
              <a:off x="1277790" y="3819937"/>
              <a:ext cx="459379" cy="1313013"/>
            </a:xfrm>
            <a:custGeom>
              <a:avLst/>
              <a:gdLst>
                <a:gd name="connsiteX0" fmla="*/ 0 w 459379"/>
                <a:gd name="connsiteY0" fmla="*/ 0 h 1313013"/>
                <a:gd name="connsiteX1" fmla="*/ 229689 w 459379"/>
                <a:gd name="connsiteY1" fmla="*/ 0 h 1313013"/>
                <a:gd name="connsiteX2" fmla="*/ 229689 w 459379"/>
                <a:gd name="connsiteY2" fmla="*/ 1313013 h 1313013"/>
                <a:gd name="connsiteX3" fmla="*/ 459379 w 459379"/>
                <a:gd name="connsiteY3" fmla="*/ 1313013 h 1313013"/>
              </a:gdLst>
              <a:ahLst/>
              <a:cxnLst>
                <a:cxn ang="0">
                  <a:pos x="connsiteX0" y="connsiteY0"/>
                </a:cxn>
                <a:cxn ang="0">
                  <a:pos x="connsiteX1" y="connsiteY1"/>
                </a:cxn>
                <a:cxn ang="0">
                  <a:pos x="connsiteX2" y="connsiteY2"/>
                </a:cxn>
                <a:cxn ang="0">
                  <a:pos x="connsiteX3" y="connsiteY3"/>
                </a:cxn>
              </a:cxnLst>
              <a:rect l="l" t="t" r="r" b="b"/>
              <a:pathLst>
                <a:path w="459379" h="1313013">
                  <a:moveTo>
                    <a:pt x="0" y="0"/>
                  </a:moveTo>
                  <a:lnTo>
                    <a:pt x="229689" y="0"/>
                  </a:lnTo>
                  <a:lnTo>
                    <a:pt x="229689" y="1313013"/>
                  </a:lnTo>
                  <a:lnTo>
                    <a:pt x="459379" y="1313013"/>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07613" tIns="621730" rIns="207614" bIns="621731" numCol="1" spcCol="1270" anchor="ctr" anchorCtr="0">
              <a:noAutofit/>
            </a:bodyPr>
            <a:lstStyle/>
            <a:p>
              <a:pPr lvl="0" algn="ctr" defTabSz="222250">
                <a:lnSpc>
                  <a:spcPct val="90000"/>
                </a:lnSpc>
                <a:spcBef>
                  <a:spcPct val="0"/>
                </a:spcBef>
                <a:spcAft>
                  <a:spcPct val="35000"/>
                </a:spcAft>
              </a:pPr>
              <a:endParaRPr lang="en-US" sz="500" kern="1200"/>
            </a:p>
          </p:txBody>
        </p:sp>
        <p:sp>
          <p:nvSpPr>
            <p:cNvPr id="10" name="Freeform 9"/>
            <p:cNvSpPr/>
            <p:nvPr/>
          </p:nvSpPr>
          <p:spPr>
            <a:xfrm>
              <a:off x="4034068" y="4211888"/>
              <a:ext cx="459379" cy="91440"/>
            </a:xfrm>
            <a:custGeom>
              <a:avLst/>
              <a:gdLst>
                <a:gd name="connsiteX0" fmla="*/ 0 w 459379"/>
                <a:gd name="connsiteY0" fmla="*/ 45720 h 91440"/>
                <a:gd name="connsiteX1" fmla="*/ 459379 w 459379"/>
                <a:gd name="connsiteY1" fmla="*/ 45720 h 91440"/>
              </a:gdLst>
              <a:ahLst/>
              <a:cxnLst>
                <a:cxn ang="0">
                  <a:pos x="connsiteX0" y="connsiteY0"/>
                </a:cxn>
                <a:cxn ang="0">
                  <a:pos x="connsiteX1" y="connsiteY1"/>
                </a:cxn>
              </a:cxnLst>
              <a:rect l="l" t="t" r="r" b="b"/>
              <a:pathLst>
                <a:path w="459379" h="91440">
                  <a:moveTo>
                    <a:pt x="0" y="45720"/>
                  </a:moveTo>
                  <a:lnTo>
                    <a:pt x="459379"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0906" tIns="34235" rIns="230905" bIns="34237" numCol="1" spcCol="1270" anchor="ctr" anchorCtr="0">
              <a:noAutofit/>
            </a:bodyPr>
            <a:lstStyle/>
            <a:p>
              <a:pPr lvl="0" algn="ctr" defTabSz="222250">
                <a:lnSpc>
                  <a:spcPct val="90000"/>
                </a:lnSpc>
                <a:spcBef>
                  <a:spcPct val="0"/>
                </a:spcBef>
                <a:spcAft>
                  <a:spcPct val="35000"/>
                </a:spcAft>
              </a:pPr>
              <a:endParaRPr lang="en-US" sz="500" kern="1200"/>
            </a:p>
          </p:txBody>
        </p:sp>
        <p:sp>
          <p:nvSpPr>
            <p:cNvPr id="11" name="Freeform 10"/>
            <p:cNvSpPr/>
            <p:nvPr/>
          </p:nvSpPr>
          <p:spPr>
            <a:xfrm>
              <a:off x="1277790" y="3819937"/>
              <a:ext cx="459379" cy="437671"/>
            </a:xfrm>
            <a:custGeom>
              <a:avLst/>
              <a:gdLst>
                <a:gd name="connsiteX0" fmla="*/ 0 w 459379"/>
                <a:gd name="connsiteY0" fmla="*/ 0 h 437671"/>
                <a:gd name="connsiteX1" fmla="*/ 229689 w 459379"/>
                <a:gd name="connsiteY1" fmla="*/ 0 h 437671"/>
                <a:gd name="connsiteX2" fmla="*/ 229689 w 459379"/>
                <a:gd name="connsiteY2" fmla="*/ 437671 h 437671"/>
                <a:gd name="connsiteX3" fmla="*/ 459379 w 459379"/>
                <a:gd name="connsiteY3" fmla="*/ 437671 h 437671"/>
              </a:gdLst>
              <a:ahLst/>
              <a:cxnLst>
                <a:cxn ang="0">
                  <a:pos x="connsiteX0" y="connsiteY0"/>
                </a:cxn>
                <a:cxn ang="0">
                  <a:pos x="connsiteX1" y="connsiteY1"/>
                </a:cxn>
                <a:cxn ang="0">
                  <a:pos x="connsiteX2" y="connsiteY2"/>
                </a:cxn>
                <a:cxn ang="0">
                  <a:pos x="connsiteX3" y="connsiteY3"/>
                </a:cxn>
              </a:cxnLst>
              <a:rect l="l" t="t" r="r" b="b"/>
              <a:pathLst>
                <a:path w="459379" h="437671">
                  <a:moveTo>
                    <a:pt x="0" y="0"/>
                  </a:moveTo>
                  <a:lnTo>
                    <a:pt x="229689" y="0"/>
                  </a:lnTo>
                  <a:lnTo>
                    <a:pt x="229689" y="437671"/>
                  </a:lnTo>
                  <a:lnTo>
                    <a:pt x="459379" y="437671"/>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26527" tIns="202973" rIns="226528" bIns="202974" numCol="1" spcCol="1270" anchor="ctr" anchorCtr="0">
              <a:noAutofit/>
            </a:bodyPr>
            <a:lstStyle/>
            <a:p>
              <a:pPr lvl="0" algn="ctr" defTabSz="222250">
                <a:lnSpc>
                  <a:spcPct val="90000"/>
                </a:lnSpc>
                <a:spcBef>
                  <a:spcPct val="0"/>
                </a:spcBef>
                <a:spcAft>
                  <a:spcPct val="35000"/>
                </a:spcAft>
              </a:pPr>
              <a:endParaRPr lang="en-US" sz="500" kern="1200"/>
            </a:p>
          </p:txBody>
        </p:sp>
        <p:sp>
          <p:nvSpPr>
            <p:cNvPr id="12" name="Freeform 11"/>
            <p:cNvSpPr/>
            <p:nvPr/>
          </p:nvSpPr>
          <p:spPr>
            <a:xfrm>
              <a:off x="4034068" y="3336545"/>
              <a:ext cx="459379" cy="91440"/>
            </a:xfrm>
            <a:custGeom>
              <a:avLst/>
              <a:gdLst>
                <a:gd name="connsiteX0" fmla="*/ 0 w 459379"/>
                <a:gd name="connsiteY0" fmla="*/ 45720 h 91440"/>
                <a:gd name="connsiteX1" fmla="*/ 459379 w 459379"/>
                <a:gd name="connsiteY1" fmla="*/ 45720 h 91440"/>
              </a:gdLst>
              <a:ahLst/>
              <a:cxnLst>
                <a:cxn ang="0">
                  <a:pos x="connsiteX0" y="connsiteY0"/>
                </a:cxn>
                <a:cxn ang="0">
                  <a:pos x="connsiteX1" y="connsiteY1"/>
                </a:cxn>
              </a:cxnLst>
              <a:rect l="l" t="t" r="r" b="b"/>
              <a:pathLst>
                <a:path w="459379" h="91440">
                  <a:moveTo>
                    <a:pt x="0" y="45720"/>
                  </a:moveTo>
                  <a:lnTo>
                    <a:pt x="459379"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0906" tIns="34236" rIns="230905" bIns="34236" numCol="1" spcCol="1270" anchor="ctr" anchorCtr="0">
              <a:noAutofit/>
            </a:bodyPr>
            <a:lstStyle/>
            <a:p>
              <a:pPr lvl="0" algn="ctr" defTabSz="222250">
                <a:lnSpc>
                  <a:spcPct val="90000"/>
                </a:lnSpc>
                <a:spcBef>
                  <a:spcPct val="0"/>
                </a:spcBef>
                <a:spcAft>
                  <a:spcPct val="35000"/>
                </a:spcAft>
              </a:pPr>
              <a:endParaRPr lang="en-US" sz="500" kern="1200"/>
            </a:p>
          </p:txBody>
        </p:sp>
        <p:sp>
          <p:nvSpPr>
            <p:cNvPr id="13" name="Freeform 12"/>
            <p:cNvSpPr/>
            <p:nvPr/>
          </p:nvSpPr>
          <p:spPr>
            <a:xfrm>
              <a:off x="1277790" y="3382265"/>
              <a:ext cx="459379" cy="437671"/>
            </a:xfrm>
            <a:custGeom>
              <a:avLst/>
              <a:gdLst>
                <a:gd name="connsiteX0" fmla="*/ 0 w 459379"/>
                <a:gd name="connsiteY0" fmla="*/ 437671 h 437671"/>
                <a:gd name="connsiteX1" fmla="*/ 229689 w 459379"/>
                <a:gd name="connsiteY1" fmla="*/ 437671 h 437671"/>
                <a:gd name="connsiteX2" fmla="*/ 229689 w 459379"/>
                <a:gd name="connsiteY2" fmla="*/ 0 h 437671"/>
                <a:gd name="connsiteX3" fmla="*/ 459379 w 459379"/>
                <a:gd name="connsiteY3" fmla="*/ 0 h 437671"/>
              </a:gdLst>
              <a:ahLst/>
              <a:cxnLst>
                <a:cxn ang="0">
                  <a:pos x="connsiteX0" y="connsiteY0"/>
                </a:cxn>
                <a:cxn ang="0">
                  <a:pos x="connsiteX1" y="connsiteY1"/>
                </a:cxn>
                <a:cxn ang="0">
                  <a:pos x="connsiteX2" y="connsiteY2"/>
                </a:cxn>
                <a:cxn ang="0">
                  <a:pos x="connsiteX3" y="connsiteY3"/>
                </a:cxn>
              </a:cxnLst>
              <a:rect l="l" t="t" r="r" b="b"/>
              <a:pathLst>
                <a:path w="459379" h="437671">
                  <a:moveTo>
                    <a:pt x="0" y="437671"/>
                  </a:moveTo>
                  <a:lnTo>
                    <a:pt x="229689" y="437671"/>
                  </a:lnTo>
                  <a:lnTo>
                    <a:pt x="229689" y="0"/>
                  </a:lnTo>
                  <a:lnTo>
                    <a:pt x="459379" y="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26527" tIns="202973" rIns="226528" bIns="202974" numCol="1" spcCol="1270" anchor="ctr" anchorCtr="0">
              <a:noAutofit/>
            </a:bodyPr>
            <a:lstStyle/>
            <a:p>
              <a:pPr lvl="0" algn="ctr" defTabSz="222250">
                <a:lnSpc>
                  <a:spcPct val="90000"/>
                </a:lnSpc>
                <a:spcBef>
                  <a:spcPct val="0"/>
                </a:spcBef>
                <a:spcAft>
                  <a:spcPct val="35000"/>
                </a:spcAft>
              </a:pPr>
              <a:endParaRPr lang="en-US" sz="500" kern="1200"/>
            </a:p>
          </p:txBody>
        </p:sp>
        <p:sp>
          <p:nvSpPr>
            <p:cNvPr id="14" name="Freeform 13"/>
            <p:cNvSpPr/>
            <p:nvPr/>
          </p:nvSpPr>
          <p:spPr>
            <a:xfrm>
              <a:off x="4034068" y="2461203"/>
              <a:ext cx="459379" cy="91440"/>
            </a:xfrm>
            <a:custGeom>
              <a:avLst/>
              <a:gdLst>
                <a:gd name="connsiteX0" fmla="*/ 0 w 459379"/>
                <a:gd name="connsiteY0" fmla="*/ 45720 h 91440"/>
                <a:gd name="connsiteX1" fmla="*/ 459379 w 459379"/>
                <a:gd name="connsiteY1" fmla="*/ 45720 h 91440"/>
              </a:gdLst>
              <a:ahLst/>
              <a:cxnLst>
                <a:cxn ang="0">
                  <a:pos x="connsiteX0" y="connsiteY0"/>
                </a:cxn>
                <a:cxn ang="0">
                  <a:pos x="connsiteX1" y="connsiteY1"/>
                </a:cxn>
              </a:cxnLst>
              <a:rect l="l" t="t" r="r" b="b"/>
              <a:pathLst>
                <a:path w="459379" h="91440">
                  <a:moveTo>
                    <a:pt x="0" y="45720"/>
                  </a:moveTo>
                  <a:lnTo>
                    <a:pt x="459379"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0906" tIns="34235" rIns="230905" bIns="34237" numCol="1" spcCol="1270" anchor="ctr" anchorCtr="0">
              <a:noAutofit/>
            </a:bodyPr>
            <a:lstStyle/>
            <a:p>
              <a:pPr lvl="0" algn="ctr" defTabSz="222250">
                <a:lnSpc>
                  <a:spcPct val="90000"/>
                </a:lnSpc>
                <a:spcBef>
                  <a:spcPct val="0"/>
                </a:spcBef>
                <a:spcAft>
                  <a:spcPct val="35000"/>
                </a:spcAft>
              </a:pPr>
              <a:endParaRPr lang="en-US" sz="500" kern="1200"/>
            </a:p>
          </p:txBody>
        </p:sp>
        <p:sp>
          <p:nvSpPr>
            <p:cNvPr id="15" name="Freeform 14"/>
            <p:cNvSpPr/>
            <p:nvPr/>
          </p:nvSpPr>
          <p:spPr>
            <a:xfrm>
              <a:off x="1277790" y="2506923"/>
              <a:ext cx="459379" cy="1313013"/>
            </a:xfrm>
            <a:custGeom>
              <a:avLst/>
              <a:gdLst>
                <a:gd name="connsiteX0" fmla="*/ 0 w 459379"/>
                <a:gd name="connsiteY0" fmla="*/ 1313013 h 1313013"/>
                <a:gd name="connsiteX1" fmla="*/ 229689 w 459379"/>
                <a:gd name="connsiteY1" fmla="*/ 1313013 h 1313013"/>
                <a:gd name="connsiteX2" fmla="*/ 229689 w 459379"/>
                <a:gd name="connsiteY2" fmla="*/ 0 h 1313013"/>
                <a:gd name="connsiteX3" fmla="*/ 459379 w 459379"/>
                <a:gd name="connsiteY3" fmla="*/ 0 h 1313013"/>
              </a:gdLst>
              <a:ahLst/>
              <a:cxnLst>
                <a:cxn ang="0">
                  <a:pos x="connsiteX0" y="connsiteY0"/>
                </a:cxn>
                <a:cxn ang="0">
                  <a:pos x="connsiteX1" y="connsiteY1"/>
                </a:cxn>
                <a:cxn ang="0">
                  <a:pos x="connsiteX2" y="connsiteY2"/>
                </a:cxn>
                <a:cxn ang="0">
                  <a:pos x="connsiteX3" y="connsiteY3"/>
                </a:cxn>
              </a:cxnLst>
              <a:rect l="l" t="t" r="r" b="b"/>
              <a:pathLst>
                <a:path w="459379" h="1313013">
                  <a:moveTo>
                    <a:pt x="0" y="1313013"/>
                  </a:moveTo>
                  <a:lnTo>
                    <a:pt x="229689" y="1313013"/>
                  </a:lnTo>
                  <a:lnTo>
                    <a:pt x="229689" y="0"/>
                  </a:lnTo>
                  <a:lnTo>
                    <a:pt x="459379" y="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07613" tIns="621730" rIns="207614" bIns="621731" numCol="1" spcCol="1270" anchor="ctr" anchorCtr="0">
              <a:noAutofit/>
            </a:bodyPr>
            <a:lstStyle/>
            <a:p>
              <a:pPr lvl="0" algn="ctr" defTabSz="222250">
                <a:lnSpc>
                  <a:spcPct val="90000"/>
                </a:lnSpc>
                <a:spcBef>
                  <a:spcPct val="0"/>
                </a:spcBef>
                <a:spcAft>
                  <a:spcPct val="35000"/>
                </a:spcAft>
              </a:pPr>
              <a:endParaRPr lang="en-US" sz="500" kern="1200"/>
            </a:p>
          </p:txBody>
        </p:sp>
        <p:sp>
          <p:nvSpPr>
            <p:cNvPr id="16" name="Freeform 15"/>
            <p:cNvSpPr/>
            <p:nvPr/>
          </p:nvSpPr>
          <p:spPr>
            <a:xfrm>
              <a:off x="4034068" y="1585860"/>
              <a:ext cx="459379" cy="91440"/>
            </a:xfrm>
            <a:custGeom>
              <a:avLst/>
              <a:gdLst>
                <a:gd name="connsiteX0" fmla="*/ 0 w 459379"/>
                <a:gd name="connsiteY0" fmla="*/ 45720 h 91440"/>
                <a:gd name="connsiteX1" fmla="*/ 459379 w 459379"/>
                <a:gd name="connsiteY1" fmla="*/ 45720 h 91440"/>
              </a:gdLst>
              <a:ahLst/>
              <a:cxnLst>
                <a:cxn ang="0">
                  <a:pos x="connsiteX0" y="connsiteY0"/>
                </a:cxn>
                <a:cxn ang="0">
                  <a:pos x="connsiteX1" y="connsiteY1"/>
                </a:cxn>
              </a:cxnLst>
              <a:rect l="l" t="t" r="r" b="b"/>
              <a:pathLst>
                <a:path w="459379" h="91440">
                  <a:moveTo>
                    <a:pt x="0" y="45720"/>
                  </a:moveTo>
                  <a:lnTo>
                    <a:pt x="459379"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0906" tIns="34236" rIns="230905" bIns="34236" numCol="1" spcCol="1270" anchor="ctr" anchorCtr="0">
              <a:noAutofit/>
            </a:bodyPr>
            <a:lstStyle/>
            <a:p>
              <a:pPr lvl="0" algn="ctr" defTabSz="222250">
                <a:lnSpc>
                  <a:spcPct val="90000"/>
                </a:lnSpc>
                <a:spcBef>
                  <a:spcPct val="0"/>
                </a:spcBef>
                <a:spcAft>
                  <a:spcPct val="35000"/>
                </a:spcAft>
              </a:pPr>
              <a:endParaRPr lang="en-US" sz="500" kern="1200"/>
            </a:p>
          </p:txBody>
        </p:sp>
        <p:sp>
          <p:nvSpPr>
            <p:cNvPr id="17" name="Freeform 16"/>
            <p:cNvSpPr/>
            <p:nvPr/>
          </p:nvSpPr>
          <p:spPr>
            <a:xfrm>
              <a:off x="1277790" y="1631580"/>
              <a:ext cx="459379" cy="2188356"/>
            </a:xfrm>
            <a:custGeom>
              <a:avLst/>
              <a:gdLst>
                <a:gd name="connsiteX0" fmla="*/ 0 w 459379"/>
                <a:gd name="connsiteY0" fmla="*/ 2188356 h 2188356"/>
                <a:gd name="connsiteX1" fmla="*/ 229689 w 459379"/>
                <a:gd name="connsiteY1" fmla="*/ 2188356 h 2188356"/>
                <a:gd name="connsiteX2" fmla="*/ 229689 w 459379"/>
                <a:gd name="connsiteY2" fmla="*/ 0 h 2188356"/>
                <a:gd name="connsiteX3" fmla="*/ 459379 w 459379"/>
                <a:gd name="connsiteY3" fmla="*/ 0 h 2188356"/>
              </a:gdLst>
              <a:ahLst/>
              <a:cxnLst>
                <a:cxn ang="0">
                  <a:pos x="connsiteX0" y="connsiteY0"/>
                </a:cxn>
                <a:cxn ang="0">
                  <a:pos x="connsiteX1" y="connsiteY1"/>
                </a:cxn>
                <a:cxn ang="0">
                  <a:pos x="connsiteX2" y="connsiteY2"/>
                </a:cxn>
                <a:cxn ang="0">
                  <a:pos x="connsiteX3" y="connsiteY3"/>
                </a:cxn>
              </a:cxnLst>
              <a:rect l="l" t="t" r="r" b="b"/>
              <a:pathLst>
                <a:path w="459379" h="2188356">
                  <a:moveTo>
                    <a:pt x="0" y="2188356"/>
                  </a:moveTo>
                  <a:lnTo>
                    <a:pt x="229689" y="2188356"/>
                  </a:lnTo>
                  <a:lnTo>
                    <a:pt x="229689" y="0"/>
                  </a:lnTo>
                  <a:lnTo>
                    <a:pt x="459379" y="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186488" tIns="1038277" rIns="186489" bIns="1038277" numCol="1" spcCol="1270" anchor="ctr" anchorCtr="0">
              <a:noAutofit/>
            </a:bodyPr>
            <a:lstStyle/>
            <a:p>
              <a:pPr lvl="0" algn="ctr" defTabSz="355600">
                <a:lnSpc>
                  <a:spcPct val="90000"/>
                </a:lnSpc>
                <a:spcBef>
                  <a:spcPct val="0"/>
                </a:spcBef>
                <a:spcAft>
                  <a:spcPct val="35000"/>
                </a:spcAft>
              </a:pPr>
              <a:endParaRPr lang="en-US" sz="800" kern="1200"/>
            </a:p>
          </p:txBody>
        </p:sp>
        <p:sp>
          <p:nvSpPr>
            <p:cNvPr id="18" name="Freeform 17"/>
            <p:cNvSpPr/>
            <p:nvPr/>
          </p:nvSpPr>
          <p:spPr>
            <a:xfrm rot="16200000">
              <a:off x="-915173" y="3469799"/>
              <a:ext cx="3685652" cy="700274"/>
            </a:xfrm>
            <a:custGeom>
              <a:avLst/>
              <a:gdLst>
                <a:gd name="connsiteX0" fmla="*/ 0 w 3685652"/>
                <a:gd name="connsiteY0" fmla="*/ 0 h 700274"/>
                <a:gd name="connsiteX1" fmla="*/ 3685652 w 3685652"/>
                <a:gd name="connsiteY1" fmla="*/ 0 h 700274"/>
                <a:gd name="connsiteX2" fmla="*/ 3685652 w 3685652"/>
                <a:gd name="connsiteY2" fmla="*/ 700274 h 700274"/>
                <a:gd name="connsiteX3" fmla="*/ 0 w 3685652"/>
                <a:gd name="connsiteY3" fmla="*/ 700274 h 700274"/>
                <a:gd name="connsiteX4" fmla="*/ 0 w 3685652"/>
                <a:gd name="connsiteY4" fmla="*/ 0 h 70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5652" h="700274">
                  <a:moveTo>
                    <a:pt x="0" y="0"/>
                  </a:moveTo>
                  <a:lnTo>
                    <a:pt x="3685652" y="0"/>
                  </a:lnTo>
                  <a:lnTo>
                    <a:pt x="3685652" y="700274"/>
                  </a:lnTo>
                  <a:lnTo>
                    <a:pt x="0" y="7002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210" tIns="29210" rIns="29210" bIns="29210" numCol="1" spcCol="1270" anchor="ctr" anchorCtr="0">
              <a:noAutofit/>
            </a:bodyPr>
            <a:lstStyle/>
            <a:p>
              <a:pPr lvl="0" algn="ctr" defTabSz="2044700">
                <a:lnSpc>
                  <a:spcPct val="90000"/>
                </a:lnSpc>
                <a:spcBef>
                  <a:spcPct val="0"/>
                </a:spcBef>
                <a:spcAft>
                  <a:spcPct val="35000"/>
                </a:spcAft>
              </a:pPr>
              <a:r>
                <a:rPr lang="en-US" sz="4000" kern="1200" dirty="0"/>
                <a:t>Storage</a:t>
              </a:r>
            </a:p>
          </p:txBody>
        </p:sp>
        <p:sp>
          <p:nvSpPr>
            <p:cNvPr id="19" name="Freeform 18"/>
            <p:cNvSpPr/>
            <p:nvPr/>
          </p:nvSpPr>
          <p:spPr>
            <a:xfrm>
              <a:off x="1737170" y="1281443"/>
              <a:ext cx="2296898" cy="700274"/>
            </a:xfrm>
            <a:custGeom>
              <a:avLst/>
              <a:gdLst>
                <a:gd name="connsiteX0" fmla="*/ 0 w 2296898"/>
                <a:gd name="connsiteY0" fmla="*/ 0 h 700274"/>
                <a:gd name="connsiteX1" fmla="*/ 2296898 w 2296898"/>
                <a:gd name="connsiteY1" fmla="*/ 0 h 700274"/>
                <a:gd name="connsiteX2" fmla="*/ 2296898 w 2296898"/>
                <a:gd name="connsiteY2" fmla="*/ 700274 h 700274"/>
                <a:gd name="connsiteX3" fmla="*/ 0 w 2296898"/>
                <a:gd name="connsiteY3" fmla="*/ 700274 h 700274"/>
                <a:gd name="connsiteX4" fmla="*/ 0 w 2296898"/>
                <a:gd name="connsiteY4" fmla="*/ 0 h 70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6898" h="700274">
                  <a:moveTo>
                    <a:pt x="0" y="0"/>
                  </a:moveTo>
                  <a:lnTo>
                    <a:pt x="2296898" y="0"/>
                  </a:lnTo>
                  <a:lnTo>
                    <a:pt x="2296898" y="700274"/>
                  </a:lnTo>
                  <a:lnTo>
                    <a:pt x="0" y="7002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2000" kern="1200" dirty="0"/>
                <a:t>Blob</a:t>
              </a:r>
            </a:p>
          </p:txBody>
        </p:sp>
        <p:sp>
          <p:nvSpPr>
            <p:cNvPr id="20" name="Freeform 19"/>
            <p:cNvSpPr/>
            <p:nvPr/>
          </p:nvSpPr>
          <p:spPr>
            <a:xfrm>
              <a:off x="4493448" y="1281443"/>
              <a:ext cx="7095368" cy="700274"/>
            </a:xfrm>
            <a:custGeom>
              <a:avLst/>
              <a:gdLst>
                <a:gd name="connsiteX0" fmla="*/ 0 w 6096566"/>
                <a:gd name="connsiteY0" fmla="*/ 0 h 700274"/>
                <a:gd name="connsiteX1" fmla="*/ 6096566 w 6096566"/>
                <a:gd name="connsiteY1" fmla="*/ 0 h 700274"/>
                <a:gd name="connsiteX2" fmla="*/ 6096566 w 6096566"/>
                <a:gd name="connsiteY2" fmla="*/ 700274 h 700274"/>
                <a:gd name="connsiteX3" fmla="*/ 0 w 6096566"/>
                <a:gd name="connsiteY3" fmla="*/ 700274 h 700274"/>
                <a:gd name="connsiteX4" fmla="*/ 0 w 6096566"/>
                <a:gd name="connsiteY4" fmla="*/ 0 h 70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566" h="700274">
                  <a:moveTo>
                    <a:pt x="0" y="0"/>
                  </a:moveTo>
                  <a:lnTo>
                    <a:pt x="6096566" y="0"/>
                  </a:lnTo>
                  <a:lnTo>
                    <a:pt x="6096566" y="700274"/>
                  </a:lnTo>
                  <a:lnTo>
                    <a:pt x="0" y="7002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lvl="0" algn="just" defTabSz="533400">
                <a:lnSpc>
                  <a:spcPct val="90000"/>
                </a:lnSpc>
                <a:spcBef>
                  <a:spcPct val="0"/>
                </a:spcBef>
                <a:spcAft>
                  <a:spcPct val="35000"/>
                </a:spcAft>
              </a:pPr>
              <a:r>
                <a:rPr lang="en-US" sz="1500" kern="1200" dirty="0"/>
                <a:t>REST-based object storage for unstructured data</a:t>
              </a:r>
            </a:p>
          </p:txBody>
        </p:sp>
        <p:sp>
          <p:nvSpPr>
            <p:cNvPr id="21" name="Freeform 20"/>
            <p:cNvSpPr/>
            <p:nvPr/>
          </p:nvSpPr>
          <p:spPr>
            <a:xfrm>
              <a:off x="1737170" y="2156786"/>
              <a:ext cx="2296898" cy="700274"/>
            </a:xfrm>
            <a:custGeom>
              <a:avLst/>
              <a:gdLst>
                <a:gd name="connsiteX0" fmla="*/ 0 w 2296898"/>
                <a:gd name="connsiteY0" fmla="*/ 0 h 700274"/>
                <a:gd name="connsiteX1" fmla="*/ 2296898 w 2296898"/>
                <a:gd name="connsiteY1" fmla="*/ 0 h 700274"/>
                <a:gd name="connsiteX2" fmla="*/ 2296898 w 2296898"/>
                <a:gd name="connsiteY2" fmla="*/ 700274 h 700274"/>
                <a:gd name="connsiteX3" fmla="*/ 0 w 2296898"/>
                <a:gd name="connsiteY3" fmla="*/ 700274 h 700274"/>
                <a:gd name="connsiteX4" fmla="*/ 0 w 2296898"/>
                <a:gd name="connsiteY4" fmla="*/ 0 h 70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6898" h="700274">
                  <a:moveTo>
                    <a:pt x="0" y="0"/>
                  </a:moveTo>
                  <a:lnTo>
                    <a:pt x="2296898" y="0"/>
                  </a:lnTo>
                  <a:lnTo>
                    <a:pt x="2296898" y="700274"/>
                  </a:lnTo>
                  <a:lnTo>
                    <a:pt x="0" y="7002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2000" kern="1200" dirty="0"/>
                <a:t>Table</a:t>
              </a:r>
            </a:p>
          </p:txBody>
        </p:sp>
        <p:sp>
          <p:nvSpPr>
            <p:cNvPr id="22" name="Freeform 21"/>
            <p:cNvSpPr/>
            <p:nvPr/>
          </p:nvSpPr>
          <p:spPr>
            <a:xfrm>
              <a:off x="4493448" y="2156786"/>
              <a:ext cx="7095368" cy="700274"/>
            </a:xfrm>
            <a:custGeom>
              <a:avLst/>
              <a:gdLst>
                <a:gd name="connsiteX0" fmla="*/ 0 w 6377914"/>
                <a:gd name="connsiteY0" fmla="*/ 0 h 700274"/>
                <a:gd name="connsiteX1" fmla="*/ 6377914 w 6377914"/>
                <a:gd name="connsiteY1" fmla="*/ 0 h 700274"/>
                <a:gd name="connsiteX2" fmla="*/ 6377914 w 6377914"/>
                <a:gd name="connsiteY2" fmla="*/ 700274 h 700274"/>
                <a:gd name="connsiteX3" fmla="*/ 0 w 6377914"/>
                <a:gd name="connsiteY3" fmla="*/ 700274 h 700274"/>
                <a:gd name="connsiteX4" fmla="*/ 0 w 6377914"/>
                <a:gd name="connsiteY4" fmla="*/ 0 h 70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7914" h="700274">
                  <a:moveTo>
                    <a:pt x="0" y="0"/>
                  </a:moveTo>
                  <a:lnTo>
                    <a:pt x="6377914" y="0"/>
                  </a:lnTo>
                  <a:lnTo>
                    <a:pt x="6377914" y="700274"/>
                  </a:lnTo>
                  <a:lnTo>
                    <a:pt x="0" y="7002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lvl="0" algn="just" defTabSz="533400">
                <a:lnSpc>
                  <a:spcPct val="90000"/>
                </a:lnSpc>
                <a:spcBef>
                  <a:spcPct val="0"/>
                </a:spcBef>
                <a:spcAft>
                  <a:spcPct val="35000"/>
                </a:spcAft>
              </a:pPr>
              <a:r>
                <a:rPr lang="en-US" sz="1500" kern="1200" dirty="0"/>
                <a:t>NoSQL key-value store using semi-structured datasets</a:t>
              </a:r>
            </a:p>
          </p:txBody>
        </p:sp>
        <p:sp>
          <p:nvSpPr>
            <p:cNvPr id="23" name="Freeform 22"/>
            <p:cNvSpPr/>
            <p:nvPr/>
          </p:nvSpPr>
          <p:spPr>
            <a:xfrm>
              <a:off x="1737170" y="3032128"/>
              <a:ext cx="2296898" cy="700274"/>
            </a:xfrm>
            <a:custGeom>
              <a:avLst/>
              <a:gdLst>
                <a:gd name="connsiteX0" fmla="*/ 0 w 2296898"/>
                <a:gd name="connsiteY0" fmla="*/ 0 h 700274"/>
                <a:gd name="connsiteX1" fmla="*/ 2296898 w 2296898"/>
                <a:gd name="connsiteY1" fmla="*/ 0 h 700274"/>
                <a:gd name="connsiteX2" fmla="*/ 2296898 w 2296898"/>
                <a:gd name="connsiteY2" fmla="*/ 700274 h 700274"/>
                <a:gd name="connsiteX3" fmla="*/ 0 w 2296898"/>
                <a:gd name="connsiteY3" fmla="*/ 700274 h 700274"/>
                <a:gd name="connsiteX4" fmla="*/ 0 w 2296898"/>
                <a:gd name="connsiteY4" fmla="*/ 0 h 70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6898" h="700274">
                  <a:moveTo>
                    <a:pt x="0" y="0"/>
                  </a:moveTo>
                  <a:lnTo>
                    <a:pt x="2296898" y="0"/>
                  </a:lnTo>
                  <a:lnTo>
                    <a:pt x="2296898" y="700274"/>
                  </a:lnTo>
                  <a:lnTo>
                    <a:pt x="0" y="7002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2000" kern="1200" dirty="0"/>
                <a:t>Queue</a:t>
              </a:r>
            </a:p>
          </p:txBody>
        </p:sp>
        <p:sp>
          <p:nvSpPr>
            <p:cNvPr id="24" name="Freeform 23"/>
            <p:cNvSpPr/>
            <p:nvPr/>
          </p:nvSpPr>
          <p:spPr>
            <a:xfrm>
              <a:off x="4493448" y="3032128"/>
              <a:ext cx="7095368" cy="700274"/>
            </a:xfrm>
            <a:custGeom>
              <a:avLst/>
              <a:gdLst>
                <a:gd name="connsiteX0" fmla="*/ 0 w 2296898"/>
                <a:gd name="connsiteY0" fmla="*/ 0 h 700274"/>
                <a:gd name="connsiteX1" fmla="*/ 2296898 w 2296898"/>
                <a:gd name="connsiteY1" fmla="*/ 0 h 700274"/>
                <a:gd name="connsiteX2" fmla="*/ 2296898 w 2296898"/>
                <a:gd name="connsiteY2" fmla="*/ 700274 h 700274"/>
                <a:gd name="connsiteX3" fmla="*/ 0 w 2296898"/>
                <a:gd name="connsiteY3" fmla="*/ 700274 h 700274"/>
                <a:gd name="connsiteX4" fmla="*/ 0 w 2296898"/>
                <a:gd name="connsiteY4" fmla="*/ 0 h 70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6898" h="700274">
                  <a:moveTo>
                    <a:pt x="0" y="0"/>
                  </a:moveTo>
                  <a:lnTo>
                    <a:pt x="2296898" y="0"/>
                  </a:lnTo>
                  <a:lnTo>
                    <a:pt x="2296898" y="700274"/>
                  </a:lnTo>
                  <a:lnTo>
                    <a:pt x="0" y="7002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lvl="0" algn="just" defTabSz="533400">
                <a:lnSpc>
                  <a:spcPct val="90000"/>
                </a:lnSpc>
                <a:spcBef>
                  <a:spcPct val="0"/>
                </a:spcBef>
                <a:spcAft>
                  <a:spcPct val="35000"/>
                </a:spcAft>
              </a:pPr>
              <a:r>
                <a:rPr lang="en-US" sz="1500" kern="1200" dirty="0"/>
                <a:t>Used to create queue in the cloud  and post and read messages from it</a:t>
              </a:r>
            </a:p>
          </p:txBody>
        </p:sp>
        <p:sp>
          <p:nvSpPr>
            <p:cNvPr id="25" name="Freeform 24"/>
            <p:cNvSpPr/>
            <p:nvPr/>
          </p:nvSpPr>
          <p:spPr>
            <a:xfrm>
              <a:off x="1737170" y="3907471"/>
              <a:ext cx="2296898" cy="700274"/>
            </a:xfrm>
            <a:custGeom>
              <a:avLst/>
              <a:gdLst>
                <a:gd name="connsiteX0" fmla="*/ 0 w 2296898"/>
                <a:gd name="connsiteY0" fmla="*/ 0 h 700274"/>
                <a:gd name="connsiteX1" fmla="*/ 2296898 w 2296898"/>
                <a:gd name="connsiteY1" fmla="*/ 0 h 700274"/>
                <a:gd name="connsiteX2" fmla="*/ 2296898 w 2296898"/>
                <a:gd name="connsiteY2" fmla="*/ 700274 h 700274"/>
                <a:gd name="connsiteX3" fmla="*/ 0 w 2296898"/>
                <a:gd name="connsiteY3" fmla="*/ 700274 h 700274"/>
                <a:gd name="connsiteX4" fmla="*/ 0 w 2296898"/>
                <a:gd name="connsiteY4" fmla="*/ 0 h 70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6898" h="700274">
                  <a:moveTo>
                    <a:pt x="0" y="0"/>
                  </a:moveTo>
                  <a:lnTo>
                    <a:pt x="2296898" y="0"/>
                  </a:lnTo>
                  <a:lnTo>
                    <a:pt x="2296898" y="700274"/>
                  </a:lnTo>
                  <a:lnTo>
                    <a:pt x="0" y="7002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2000" kern="1200" dirty="0"/>
                <a:t>File</a:t>
              </a:r>
            </a:p>
          </p:txBody>
        </p:sp>
        <p:sp>
          <p:nvSpPr>
            <p:cNvPr id="26" name="Freeform 25"/>
            <p:cNvSpPr/>
            <p:nvPr/>
          </p:nvSpPr>
          <p:spPr>
            <a:xfrm>
              <a:off x="4493448" y="3907471"/>
              <a:ext cx="7095368" cy="700274"/>
            </a:xfrm>
            <a:custGeom>
              <a:avLst/>
              <a:gdLst>
                <a:gd name="connsiteX0" fmla="*/ 0 w 2296898"/>
                <a:gd name="connsiteY0" fmla="*/ 0 h 700274"/>
                <a:gd name="connsiteX1" fmla="*/ 2296898 w 2296898"/>
                <a:gd name="connsiteY1" fmla="*/ 0 h 700274"/>
                <a:gd name="connsiteX2" fmla="*/ 2296898 w 2296898"/>
                <a:gd name="connsiteY2" fmla="*/ 700274 h 700274"/>
                <a:gd name="connsiteX3" fmla="*/ 0 w 2296898"/>
                <a:gd name="connsiteY3" fmla="*/ 700274 h 700274"/>
                <a:gd name="connsiteX4" fmla="*/ 0 w 2296898"/>
                <a:gd name="connsiteY4" fmla="*/ 0 h 70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6898" h="700274">
                  <a:moveTo>
                    <a:pt x="0" y="0"/>
                  </a:moveTo>
                  <a:lnTo>
                    <a:pt x="2296898" y="0"/>
                  </a:lnTo>
                  <a:lnTo>
                    <a:pt x="2296898" y="700274"/>
                  </a:lnTo>
                  <a:lnTo>
                    <a:pt x="0" y="7002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lvl="0" algn="just" defTabSz="533400">
                <a:lnSpc>
                  <a:spcPct val="90000"/>
                </a:lnSpc>
                <a:spcBef>
                  <a:spcPct val="0"/>
                </a:spcBef>
                <a:spcAft>
                  <a:spcPct val="35000"/>
                </a:spcAft>
              </a:pPr>
              <a:r>
                <a:rPr lang="en-US" sz="1500" kern="1200" dirty="0"/>
                <a:t>File shares that use the standard SMB 3.0 protocol</a:t>
              </a:r>
            </a:p>
          </p:txBody>
        </p:sp>
        <p:sp>
          <p:nvSpPr>
            <p:cNvPr id="27" name="Freeform 26"/>
            <p:cNvSpPr/>
            <p:nvPr/>
          </p:nvSpPr>
          <p:spPr>
            <a:xfrm>
              <a:off x="1737170" y="4782813"/>
              <a:ext cx="2296898" cy="700274"/>
            </a:xfrm>
            <a:custGeom>
              <a:avLst/>
              <a:gdLst>
                <a:gd name="connsiteX0" fmla="*/ 0 w 2296898"/>
                <a:gd name="connsiteY0" fmla="*/ 0 h 700274"/>
                <a:gd name="connsiteX1" fmla="*/ 2296898 w 2296898"/>
                <a:gd name="connsiteY1" fmla="*/ 0 h 700274"/>
                <a:gd name="connsiteX2" fmla="*/ 2296898 w 2296898"/>
                <a:gd name="connsiteY2" fmla="*/ 700274 h 700274"/>
                <a:gd name="connsiteX3" fmla="*/ 0 w 2296898"/>
                <a:gd name="connsiteY3" fmla="*/ 700274 h 700274"/>
                <a:gd name="connsiteX4" fmla="*/ 0 w 2296898"/>
                <a:gd name="connsiteY4" fmla="*/ 0 h 70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6898" h="700274">
                  <a:moveTo>
                    <a:pt x="0" y="0"/>
                  </a:moveTo>
                  <a:lnTo>
                    <a:pt x="2296898" y="0"/>
                  </a:lnTo>
                  <a:lnTo>
                    <a:pt x="2296898" y="700274"/>
                  </a:lnTo>
                  <a:lnTo>
                    <a:pt x="0" y="7002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2000" kern="1200" dirty="0"/>
                <a:t>Backup</a:t>
              </a:r>
            </a:p>
          </p:txBody>
        </p:sp>
        <p:sp>
          <p:nvSpPr>
            <p:cNvPr id="28" name="Freeform 27"/>
            <p:cNvSpPr/>
            <p:nvPr/>
          </p:nvSpPr>
          <p:spPr>
            <a:xfrm>
              <a:off x="4493448" y="4782813"/>
              <a:ext cx="7095368" cy="700274"/>
            </a:xfrm>
            <a:custGeom>
              <a:avLst/>
              <a:gdLst>
                <a:gd name="connsiteX0" fmla="*/ 0 w 2296898"/>
                <a:gd name="connsiteY0" fmla="*/ 0 h 700274"/>
                <a:gd name="connsiteX1" fmla="*/ 2296898 w 2296898"/>
                <a:gd name="connsiteY1" fmla="*/ 0 h 700274"/>
                <a:gd name="connsiteX2" fmla="*/ 2296898 w 2296898"/>
                <a:gd name="connsiteY2" fmla="*/ 700274 h 700274"/>
                <a:gd name="connsiteX3" fmla="*/ 0 w 2296898"/>
                <a:gd name="connsiteY3" fmla="*/ 700274 h 700274"/>
                <a:gd name="connsiteX4" fmla="*/ 0 w 2296898"/>
                <a:gd name="connsiteY4" fmla="*/ 0 h 70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6898" h="700274">
                  <a:moveTo>
                    <a:pt x="0" y="0"/>
                  </a:moveTo>
                  <a:lnTo>
                    <a:pt x="2296898" y="0"/>
                  </a:lnTo>
                  <a:lnTo>
                    <a:pt x="2296898" y="700274"/>
                  </a:lnTo>
                  <a:lnTo>
                    <a:pt x="0" y="7002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lvl="0" algn="just" defTabSz="533400">
                <a:lnSpc>
                  <a:spcPct val="90000"/>
                </a:lnSpc>
                <a:spcBef>
                  <a:spcPct val="0"/>
                </a:spcBef>
                <a:spcAft>
                  <a:spcPct val="35000"/>
                </a:spcAft>
              </a:pPr>
              <a:r>
                <a:rPr lang="en-US" sz="1500" kern="1200" dirty="0"/>
                <a:t>Used to take backup either on-premise VM or Azure VM with cloud-based backup as a service</a:t>
              </a:r>
            </a:p>
          </p:txBody>
        </p:sp>
        <p:sp>
          <p:nvSpPr>
            <p:cNvPr id="29" name="Freeform 28"/>
            <p:cNvSpPr/>
            <p:nvPr/>
          </p:nvSpPr>
          <p:spPr>
            <a:xfrm>
              <a:off x="1737170" y="5658156"/>
              <a:ext cx="2296898" cy="700274"/>
            </a:xfrm>
            <a:custGeom>
              <a:avLst/>
              <a:gdLst>
                <a:gd name="connsiteX0" fmla="*/ 0 w 2296898"/>
                <a:gd name="connsiteY0" fmla="*/ 0 h 700274"/>
                <a:gd name="connsiteX1" fmla="*/ 2296898 w 2296898"/>
                <a:gd name="connsiteY1" fmla="*/ 0 h 700274"/>
                <a:gd name="connsiteX2" fmla="*/ 2296898 w 2296898"/>
                <a:gd name="connsiteY2" fmla="*/ 700274 h 700274"/>
                <a:gd name="connsiteX3" fmla="*/ 0 w 2296898"/>
                <a:gd name="connsiteY3" fmla="*/ 700274 h 700274"/>
                <a:gd name="connsiteX4" fmla="*/ 0 w 2296898"/>
                <a:gd name="connsiteY4" fmla="*/ 0 h 70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6898" h="700274">
                  <a:moveTo>
                    <a:pt x="0" y="0"/>
                  </a:moveTo>
                  <a:lnTo>
                    <a:pt x="2296898" y="0"/>
                  </a:lnTo>
                  <a:lnTo>
                    <a:pt x="2296898" y="700274"/>
                  </a:lnTo>
                  <a:lnTo>
                    <a:pt x="0" y="7002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2000" kern="1200" dirty="0"/>
                <a:t>Site Recovery</a:t>
              </a:r>
            </a:p>
          </p:txBody>
        </p:sp>
        <p:sp>
          <p:nvSpPr>
            <p:cNvPr id="30" name="Freeform 29"/>
            <p:cNvSpPr/>
            <p:nvPr/>
          </p:nvSpPr>
          <p:spPr>
            <a:xfrm>
              <a:off x="4493448" y="5658156"/>
              <a:ext cx="7095368" cy="700274"/>
            </a:xfrm>
            <a:custGeom>
              <a:avLst/>
              <a:gdLst>
                <a:gd name="connsiteX0" fmla="*/ 0 w 2296898"/>
                <a:gd name="connsiteY0" fmla="*/ 0 h 700274"/>
                <a:gd name="connsiteX1" fmla="*/ 2296898 w 2296898"/>
                <a:gd name="connsiteY1" fmla="*/ 0 h 700274"/>
                <a:gd name="connsiteX2" fmla="*/ 2296898 w 2296898"/>
                <a:gd name="connsiteY2" fmla="*/ 700274 h 700274"/>
                <a:gd name="connsiteX3" fmla="*/ 0 w 2296898"/>
                <a:gd name="connsiteY3" fmla="*/ 700274 h 700274"/>
                <a:gd name="connsiteX4" fmla="*/ 0 w 2296898"/>
                <a:gd name="connsiteY4" fmla="*/ 0 h 70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6898" h="700274">
                  <a:moveTo>
                    <a:pt x="0" y="0"/>
                  </a:moveTo>
                  <a:lnTo>
                    <a:pt x="2296898" y="0"/>
                  </a:lnTo>
                  <a:lnTo>
                    <a:pt x="2296898" y="700274"/>
                  </a:lnTo>
                  <a:lnTo>
                    <a:pt x="0" y="7002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lvl="0" algn="just" defTabSz="533400">
                <a:lnSpc>
                  <a:spcPct val="90000"/>
                </a:lnSpc>
                <a:spcBef>
                  <a:spcPct val="0"/>
                </a:spcBef>
                <a:spcAft>
                  <a:spcPct val="35000"/>
                </a:spcAft>
              </a:pPr>
              <a:r>
                <a:rPr lang="en-US" sz="1500" kern="1200" dirty="0"/>
                <a:t>Used to replicate the work loads to disaster recovery data center or Azure storage</a:t>
              </a:r>
            </a:p>
          </p:txBody>
        </p:sp>
      </p:grpSp>
    </p:spTree>
    <p:extLst>
      <p:ext uri="{BB962C8B-B14F-4D97-AF65-F5344CB8AC3E}">
        <p14:creationId xmlns:p14="http://schemas.microsoft.com/office/powerpoint/2010/main" val="14711781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327257"/>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Azure Network Service</a:t>
            </a:r>
          </a:p>
        </p:txBody>
      </p:sp>
      <p:grpSp>
        <p:nvGrpSpPr>
          <p:cNvPr id="5" name="Group 4"/>
          <p:cNvGrpSpPr/>
          <p:nvPr/>
        </p:nvGrpSpPr>
        <p:grpSpPr>
          <a:xfrm>
            <a:off x="577516" y="1266315"/>
            <a:ext cx="10845454" cy="5079107"/>
            <a:chOff x="915136" y="1280383"/>
            <a:chExt cx="6559560" cy="5079107"/>
          </a:xfrm>
        </p:grpSpPr>
        <p:sp>
          <p:nvSpPr>
            <p:cNvPr id="6" name="Freeform 5"/>
            <p:cNvSpPr/>
            <p:nvPr/>
          </p:nvSpPr>
          <p:spPr>
            <a:xfrm>
              <a:off x="3430673" y="6014999"/>
              <a:ext cx="391987" cy="91440"/>
            </a:xfrm>
            <a:custGeom>
              <a:avLst/>
              <a:gdLst>
                <a:gd name="connsiteX0" fmla="*/ 0 w 391987"/>
                <a:gd name="connsiteY0" fmla="*/ 45720 h 91440"/>
                <a:gd name="connsiteX1" fmla="*/ 391987 w 391987"/>
                <a:gd name="connsiteY1" fmla="*/ 45720 h 91440"/>
              </a:gdLst>
              <a:ahLst/>
              <a:cxnLst>
                <a:cxn ang="0">
                  <a:pos x="connsiteX0" y="connsiteY0"/>
                </a:cxn>
                <a:cxn ang="0">
                  <a:pos x="connsiteX1" y="connsiteY1"/>
                </a:cxn>
              </a:cxnLst>
              <a:rect l="l" t="t" r="r" b="b"/>
              <a:pathLst>
                <a:path w="391987" h="91440">
                  <a:moveTo>
                    <a:pt x="0" y="45720"/>
                  </a:moveTo>
                  <a:lnTo>
                    <a:pt x="391987"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198894" tIns="35921" rIns="198894" bIns="35920" numCol="1" spcCol="1270" anchor="ctr" anchorCtr="0">
              <a:noAutofit/>
            </a:bodyPr>
            <a:lstStyle/>
            <a:p>
              <a:pPr lvl="0" algn="ctr" defTabSz="222250">
                <a:lnSpc>
                  <a:spcPct val="90000"/>
                </a:lnSpc>
                <a:spcBef>
                  <a:spcPct val="0"/>
                </a:spcBef>
                <a:spcAft>
                  <a:spcPct val="35000"/>
                </a:spcAft>
              </a:pPr>
              <a:endParaRPr lang="en-US" sz="500" kern="1200"/>
            </a:p>
          </p:txBody>
        </p:sp>
        <p:sp>
          <p:nvSpPr>
            <p:cNvPr id="7" name="Freeform 6"/>
            <p:cNvSpPr/>
            <p:nvPr/>
          </p:nvSpPr>
          <p:spPr>
            <a:xfrm>
              <a:off x="1512678" y="3819937"/>
              <a:ext cx="391987" cy="2240782"/>
            </a:xfrm>
            <a:custGeom>
              <a:avLst/>
              <a:gdLst>
                <a:gd name="connsiteX0" fmla="*/ 0 w 391987"/>
                <a:gd name="connsiteY0" fmla="*/ 0 h 2240782"/>
                <a:gd name="connsiteX1" fmla="*/ 195993 w 391987"/>
                <a:gd name="connsiteY1" fmla="*/ 0 h 2240782"/>
                <a:gd name="connsiteX2" fmla="*/ 195993 w 391987"/>
                <a:gd name="connsiteY2" fmla="*/ 2240782 h 2240782"/>
                <a:gd name="connsiteX3" fmla="*/ 391987 w 391987"/>
                <a:gd name="connsiteY3" fmla="*/ 2240782 h 2240782"/>
              </a:gdLst>
              <a:ahLst/>
              <a:cxnLst>
                <a:cxn ang="0">
                  <a:pos x="connsiteX0" y="connsiteY0"/>
                </a:cxn>
                <a:cxn ang="0">
                  <a:pos x="connsiteX1" y="connsiteY1"/>
                </a:cxn>
                <a:cxn ang="0">
                  <a:pos x="connsiteX2" y="connsiteY2"/>
                </a:cxn>
                <a:cxn ang="0">
                  <a:pos x="connsiteX3" y="connsiteY3"/>
                </a:cxn>
              </a:cxnLst>
              <a:rect l="l" t="t" r="r" b="b"/>
              <a:pathLst>
                <a:path w="391987" h="2240782">
                  <a:moveTo>
                    <a:pt x="0" y="0"/>
                  </a:moveTo>
                  <a:lnTo>
                    <a:pt x="195993" y="0"/>
                  </a:lnTo>
                  <a:lnTo>
                    <a:pt x="195993" y="2240782"/>
                  </a:lnTo>
                  <a:lnTo>
                    <a:pt x="391987" y="2240782"/>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151823" tIns="1063521" rIns="151824" bIns="1063521" numCol="1" spcCol="1270" anchor="ctr" anchorCtr="0">
              <a:noAutofit/>
            </a:bodyPr>
            <a:lstStyle/>
            <a:p>
              <a:pPr lvl="0" algn="ctr" defTabSz="355600">
                <a:lnSpc>
                  <a:spcPct val="90000"/>
                </a:lnSpc>
                <a:spcBef>
                  <a:spcPct val="0"/>
                </a:spcBef>
                <a:spcAft>
                  <a:spcPct val="35000"/>
                </a:spcAft>
              </a:pPr>
              <a:endParaRPr lang="en-US" sz="800" kern="1200"/>
            </a:p>
          </p:txBody>
        </p:sp>
        <p:sp>
          <p:nvSpPr>
            <p:cNvPr id="8" name="Freeform 7"/>
            <p:cNvSpPr/>
            <p:nvPr/>
          </p:nvSpPr>
          <p:spPr>
            <a:xfrm>
              <a:off x="3430673" y="5268072"/>
              <a:ext cx="391987" cy="91440"/>
            </a:xfrm>
            <a:custGeom>
              <a:avLst/>
              <a:gdLst>
                <a:gd name="connsiteX0" fmla="*/ 0 w 391987"/>
                <a:gd name="connsiteY0" fmla="*/ 45720 h 91440"/>
                <a:gd name="connsiteX1" fmla="*/ 391987 w 391987"/>
                <a:gd name="connsiteY1" fmla="*/ 45720 h 91440"/>
              </a:gdLst>
              <a:ahLst/>
              <a:cxnLst>
                <a:cxn ang="0">
                  <a:pos x="connsiteX0" y="connsiteY0"/>
                </a:cxn>
                <a:cxn ang="0">
                  <a:pos x="connsiteX1" y="connsiteY1"/>
                </a:cxn>
              </a:cxnLst>
              <a:rect l="l" t="t" r="r" b="b"/>
              <a:pathLst>
                <a:path w="391987" h="91440">
                  <a:moveTo>
                    <a:pt x="0" y="45720"/>
                  </a:moveTo>
                  <a:lnTo>
                    <a:pt x="391987"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198894" tIns="35920" rIns="198894" bIns="35921" numCol="1" spcCol="1270" anchor="ctr" anchorCtr="0">
              <a:noAutofit/>
            </a:bodyPr>
            <a:lstStyle/>
            <a:p>
              <a:pPr lvl="0" algn="ctr" defTabSz="222250">
                <a:lnSpc>
                  <a:spcPct val="90000"/>
                </a:lnSpc>
                <a:spcBef>
                  <a:spcPct val="0"/>
                </a:spcBef>
                <a:spcAft>
                  <a:spcPct val="35000"/>
                </a:spcAft>
              </a:pPr>
              <a:endParaRPr lang="en-US" sz="500" kern="1200"/>
            </a:p>
          </p:txBody>
        </p:sp>
        <p:sp>
          <p:nvSpPr>
            <p:cNvPr id="9" name="Freeform 8"/>
            <p:cNvSpPr/>
            <p:nvPr/>
          </p:nvSpPr>
          <p:spPr>
            <a:xfrm>
              <a:off x="1512678" y="3819937"/>
              <a:ext cx="391987" cy="1493855"/>
            </a:xfrm>
            <a:custGeom>
              <a:avLst/>
              <a:gdLst>
                <a:gd name="connsiteX0" fmla="*/ 0 w 391987"/>
                <a:gd name="connsiteY0" fmla="*/ 0 h 1493855"/>
                <a:gd name="connsiteX1" fmla="*/ 195993 w 391987"/>
                <a:gd name="connsiteY1" fmla="*/ 0 h 1493855"/>
                <a:gd name="connsiteX2" fmla="*/ 195993 w 391987"/>
                <a:gd name="connsiteY2" fmla="*/ 1493855 h 1493855"/>
                <a:gd name="connsiteX3" fmla="*/ 391987 w 391987"/>
                <a:gd name="connsiteY3" fmla="*/ 1493855 h 1493855"/>
              </a:gdLst>
              <a:ahLst/>
              <a:cxnLst>
                <a:cxn ang="0">
                  <a:pos x="connsiteX0" y="connsiteY0"/>
                </a:cxn>
                <a:cxn ang="0">
                  <a:pos x="connsiteX1" y="connsiteY1"/>
                </a:cxn>
                <a:cxn ang="0">
                  <a:pos x="connsiteX2" y="connsiteY2"/>
                </a:cxn>
                <a:cxn ang="0">
                  <a:pos x="connsiteX3" y="connsiteY3"/>
                </a:cxn>
              </a:cxnLst>
              <a:rect l="l" t="t" r="r" b="b"/>
              <a:pathLst>
                <a:path w="391987" h="1493855">
                  <a:moveTo>
                    <a:pt x="0" y="0"/>
                  </a:moveTo>
                  <a:lnTo>
                    <a:pt x="195993" y="0"/>
                  </a:lnTo>
                  <a:lnTo>
                    <a:pt x="195993" y="1493855"/>
                  </a:lnTo>
                  <a:lnTo>
                    <a:pt x="391987" y="1493855"/>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170083" tIns="708316" rIns="170083" bIns="708318" numCol="1" spcCol="1270" anchor="ctr" anchorCtr="0">
              <a:noAutofit/>
            </a:bodyPr>
            <a:lstStyle/>
            <a:p>
              <a:pPr lvl="0" algn="ctr" defTabSz="222250">
                <a:lnSpc>
                  <a:spcPct val="90000"/>
                </a:lnSpc>
                <a:spcBef>
                  <a:spcPct val="0"/>
                </a:spcBef>
                <a:spcAft>
                  <a:spcPct val="35000"/>
                </a:spcAft>
              </a:pPr>
              <a:endParaRPr lang="en-US" sz="500" kern="1200"/>
            </a:p>
          </p:txBody>
        </p:sp>
        <p:sp>
          <p:nvSpPr>
            <p:cNvPr id="10" name="Freeform 9"/>
            <p:cNvSpPr/>
            <p:nvPr/>
          </p:nvSpPr>
          <p:spPr>
            <a:xfrm>
              <a:off x="3430673" y="4521144"/>
              <a:ext cx="391987" cy="91440"/>
            </a:xfrm>
            <a:custGeom>
              <a:avLst/>
              <a:gdLst>
                <a:gd name="connsiteX0" fmla="*/ 0 w 391987"/>
                <a:gd name="connsiteY0" fmla="*/ 45720 h 91440"/>
                <a:gd name="connsiteX1" fmla="*/ 391987 w 391987"/>
                <a:gd name="connsiteY1" fmla="*/ 45720 h 91440"/>
              </a:gdLst>
              <a:ahLst/>
              <a:cxnLst>
                <a:cxn ang="0">
                  <a:pos x="connsiteX0" y="connsiteY0"/>
                </a:cxn>
                <a:cxn ang="0">
                  <a:pos x="connsiteX1" y="connsiteY1"/>
                </a:cxn>
              </a:cxnLst>
              <a:rect l="l" t="t" r="r" b="b"/>
              <a:pathLst>
                <a:path w="391987" h="91440">
                  <a:moveTo>
                    <a:pt x="0" y="45720"/>
                  </a:moveTo>
                  <a:lnTo>
                    <a:pt x="391987"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198894" tIns="35920" rIns="198894" bIns="35921" numCol="1" spcCol="1270" anchor="ctr" anchorCtr="0">
              <a:noAutofit/>
            </a:bodyPr>
            <a:lstStyle/>
            <a:p>
              <a:pPr lvl="0" algn="ctr" defTabSz="222250">
                <a:lnSpc>
                  <a:spcPct val="90000"/>
                </a:lnSpc>
                <a:spcBef>
                  <a:spcPct val="0"/>
                </a:spcBef>
                <a:spcAft>
                  <a:spcPct val="35000"/>
                </a:spcAft>
              </a:pPr>
              <a:endParaRPr lang="en-US" sz="500" kern="1200"/>
            </a:p>
          </p:txBody>
        </p:sp>
        <p:sp>
          <p:nvSpPr>
            <p:cNvPr id="11" name="Freeform 10"/>
            <p:cNvSpPr/>
            <p:nvPr/>
          </p:nvSpPr>
          <p:spPr>
            <a:xfrm>
              <a:off x="1512678" y="3819937"/>
              <a:ext cx="391987" cy="746927"/>
            </a:xfrm>
            <a:custGeom>
              <a:avLst/>
              <a:gdLst>
                <a:gd name="connsiteX0" fmla="*/ 0 w 391987"/>
                <a:gd name="connsiteY0" fmla="*/ 0 h 746927"/>
                <a:gd name="connsiteX1" fmla="*/ 195993 w 391987"/>
                <a:gd name="connsiteY1" fmla="*/ 0 h 746927"/>
                <a:gd name="connsiteX2" fmla="*/ 195993 w 391987"/>
                <a:gd name="connsiteY2" fmla="*/ 746927 h 746927"/>
                <a:gd name="connsiteX3" fmla="*/ 391987 w 391987"/>
                <a:gd name="connsiteY3" fmla="*/ 746927 h 746927"/>
              </a:gdLst>
              <a:ahLst/>
              <a:cxnLst>
                <a:cxn ang="0">
                  <a:pos x="connsiteX0" y="connsiteY0"/>
                </a:cxn>
                <a:cxn ang="0">
                  <a:pos x="connsiteX1" y="connsiteY1"/>
                </a:cxn>
                <a:cxn ang="0">
                  <a:pos x="connsiteX2" y="connsiteY2"/>
                </a:cxn>
                <a:cxn ang="0">
                  <a:pos x="connsiteX3" y="connsiteY3"/>
                </a:cxn>
              </a:cxnLst>
              <a:rect l="l" t="t" r="r" b="b"/>
              <a:pathLst>
                <a:path w="391987" h="746927">
                  <a:moveTo>
                    <a:pt x="0" y="0"/>
                  </a:moveTo>
                  <a:lnTo>
                    <a:pt x="195993" y="0"/>
                  </a:lnTo>
                  <a:lnTo>
                    <a:pt x="195993" y="746927"/>
                  </a:lnTo>
                  <a:lnTo>
                    <a:pt x="391987" y="746927"/>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187605" tIns="352375" rIns="187606" bIns="352376" numCol="1" spcCol="1270" anchor="ctr" anchorCtr="0">
              <a:noAutofit/>
            </a:bodyPr>
            <a:lstStyle/>
            <a:p>
              <a:pPr lvl="0" algn="ctr" defTabSz="222250">
                <a:lnSpc>
                  <a:spcPct val="90000"/>
                </a:lnSpc>
                <a:spcBef>
                  <a:spcPct val="0"/>
                </a:spcBef>
                <a:spcAft>
                  <a:spcPct val="35000"/>
                </a:spcAft>
              </a:pPr>
              <a:endParaRPr lang="en-US" sz="500" kern="1200"/>
            </a:p>
          </p:txBody>
        </p:sp>
        <p:sp>
          <p:nvSpPr>
            <p:cNvPr id="12" name="Freeform 11"/>
            <p:cNvSpPr/>
            <p:nvPr/>
          </p:nvSpPr>
          <p:spPr>
            <a:xfrm>
              <a:off x="3430673" y="3774217"/>
              <a:ext cx="391987" cy="91440"/>
            </a:xfrm>
            <a:custGeom>
              <a:avLst/>
              <a:gdLst>
                <a:gd name="connsiteX0" fmla="*/ 0 w 391987"/>
                <a:gd name="connsiteY0" fmla="*/ 45720 h 91440"/>
                <a:gd name="connsiteX1" fmla="*/ 391987 w 391987"/>
                <a:gd name="connsiteY1" fmla="*/ 45720 h 91440"/>
              </a:gdLst>
              <a:ahLst/>
              <a:cxnLst>
                <a:cxn ang="0">
                  <a:pos x="connsiteX0" y="connsiteY0"/>
                </a:cxn>
                <a:cxn ang="0">
                  <a:pos x="connsiteX1" y="connsiteY1"/>
                </a:cxn>
              </a:cxnLst>
              <a:rect l="l" t="t" r="r" b="b"/>
              <a:pathLst>
                <a:path w="391987" h="91440">
                  <a:moveTo>
                    <a:pt x="0" y="45720"/>
                  </a:moveTo>
                  <a:lnTo>
                    <a:pt x="391987"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198894" tIns="35920" rIns="198894" bIns="35921" numCol="1" spcCol="1270" anchor="ctr" anchorCtr="0">
              <a:noAutofit/>
            </a:bodyPr>
            <a:lstStyle/>
            <a:p>
              <a:pPr lvl="0" algn="ctr" defTabSz="222250">
                <a:lnSpc>
                  <a:spcPct val="90000"/>
                </a:lnSpc>
                <a:spcBef>
                  <a:spcPct val="0"/>
                </a:spcBef>
                <a:spcAft>
                  <a:spcPct val="35000"/>
                </a:spcAft>
              </a:pPr>
              <a:endParaRPr lang="en-US" sz="500" kern="1200"/>
            </a:p>
          </p:txBody>
        </p:sp>
        <p:sp>
          <p:nvSpPr>
            <p:cNvPr id="13" name="Freeform 12"/>
            <p:cNvSpPr/>
            <p:nvPr/>
          </p:nvSpPr>
          <p:spPr>
            <a:xfrm>
              <a:off x="1512678" y="3774217"/>
              <a:ext cx="391987" cy="91440"/>
            </a:xfrm>
            <a:custGeom>
              <a:avLst/>
              <a:gdLst>
                <a:gd name="connsiteX0" fmla="*/ 0 w 391987"/>
                <a:gd name="connsiteY0" fmla="*/ 45720 h 91440"/>
                <a:gd name="connsiteX1" fmla="*/ 391987 w 391987"/>
                <a:gd name="connsiteY1" fmla="*/ 45720 h 91440"/>
              </a:gdLst>
              <a:ahLst/>
              <a:cxnLst>
                <a:cxn ang="0">
                  <a:pos x="connsiteX0" y="connsiteY0"/>
                </a:cxn>
                <a:cxn ang="0">
                  <a:pos x="connsiteX1" y="connsiteY1"/>
                </a:cxn>
              </a:cxnLst>
              <a:rect l="l" t="t" r="r" b="b"/>
              <a:pathLst>
                <a:path w="391987" h="91440">
                  <a:moveTo>
                    <a:pt x="0" y="45720"/>
                  </a:moveTo>
                  <a:lnTo>
                    <a:pt x="391987" y="4572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198894" tIns="35920" rIns="198894" bIns="35921" numCol="1" spcCol="1270" anchor="ctr" anchorCtr="0">
              <a:noAutofit/>
            </a:bodyPr>
            <a:lstStyle/>
            <a:p>
              <a:pPr lvl="0" algn="ctr" defTabSz="222250">
                <a:lnSpc>
                  <a:spcPct val="90000"/>
                </a:lnSpc>
                <a:spcBef>
                  <a:spcPct val="0"/>
                </a:spcBef>
                <a:spcAft>
                  <a:spcPct val="35000"/>
                </a:spcAft>
              </a:pPr>
              <a:endParaRPr lang="en-US" sz="500" kern="1200"/>
            </a:p>
          </p:txBody>
        </p:sp>
        <p:sp>
          <p:nvSpPr>
            <p:cNvPr id="14" name="Freeform 13"/>
            <p:cNvSpPr/>
            <p:nvPr/>
          </p:nvSpPr>
          <p:spPr>
            <a:xfrm>
              <a:off x="3430673" y="3027289"/>
              <a:ext cx="391987" cy="91440"/>
            </a:xfrm>
            <a:custGeom>
              <a:avLst/>
              <a:gdLst>
                <a:gd name="connsiteX0" fmla="*/ 0 w 391987"/>
                <a:gd name="connsiteY0" fmla="*/ 45720 h 91440"/>
                <a:gd name="connsiteX1" fmla="*/ 391987 w 391987"/>
                <a:gd name="connsiteY1" fmla="*/ 45720 h 91440"/>
              </a:gdLst>
              <a:ahLst/>
              <a:cxnLst>
                <a:cxn ang="0">
                  <a:pos x="connsiteX0" y="connsiteY0"/>
                </a:cxn>
                <a:cxn ang="0">
                  <a:pos x="connsiteX1" y="connsiteY1"/>
                </a:cxn>
              </a:cxnLst>
              <a:rect l="l" t="t" r="r" b="b"/>
              <a:pathLst>
                <a:path w="391987" h="91440">
                  <a:moveTo>
                    <a:pt x="0" y="45720"/>
                  </a:moveTo>
                  <a:lnTo>
                    <a:pt x="391987"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198894" tIns="35920" rIns="198894" bIns="35921" numCol="1" spcCol="1270" anchor="ctr" anchorCtr="0">
              <a:noAutofit/>
            </a:bodyPr>
            <a:lstStyle/>
            <a:p>
              <a:pPr lvl="0" algn="ctr" defTabSz="222250">
                <a:lnSpc>
                  <a:spcPct val="90000"/>
                </a:lnSpc>
                <a:spcBef>
                  <a:spcPct val="0"/>
                </a:spcBef>
                <a:spcAft>
                  <a:spcPct val="35000"/>
                </a:spcAft>
              </a:pPr>
              <a:endParaRPr lang="en-US" sz="500" kern="1200"/>
            </a:p>
          </p:txBody>
        </p:sp>
        <p:sp>
          <p:nvSpPr>
            <p:cNvPr id="15" name="Freeform 14"/>
            <p:cNvSpPr/>
            <p:nvPr/>
          </p:nvSpPr>
          <p:spPr>
            <a:xfrm>
              <a:off x="1512678" y="3073009"/>
              <a:ext cx="391987" cy="746927"/>
            </a:xfrm>
            <a:custGeom>
              <a:avLst/>
              <a:gdLst>
                <a:gd name="connsiteX0" fmla="*/ 0 w 391987"/>
                <a:gd name="connsiteY0" fmla="*/ 746927 h 746927"/>
                <a:gd name="connsiteX1" fmla="*/ 195993 w 391987"/>
                <a:gd name="connsiteY1" fmla="*/ 746927 h 746927"/>
                <a:gd name="connsiteX2" fmla="*/ 195993 w 391987"/>
                <a:gd name="connsiteY2" fmla="*/ 0 h 746927"/>
                <a:gd name="connsiteX3" fmla="*/ 391987 w 391987"/>
                <a:gd name="connsiteY3" fmla="*/ 0 h 746927"/>
              </a:gdLst>
              <a:ahLst/>
              <a:cxnLst>
                <a:cxn ang="0">
                  <a:pos x="connsiteX0" y="connsiteY0"/>
                </a:cxn>
                <a:cxn ang="0">
                  <a:pos x="connsiteX1" y="connsiteY1"/>
                </a:cxn>
                <a:cxn ang="0">
                  <a:pos x="connsiteX2" y="connsiteY2"/>
                </a:cxn>
                <a:cxn ang="0">
                  <a:pos x="connsiteX3" y="connsiteY3"/>
                </a:cxn>
              </a:cxnLst>
              <a:rect l="l" t="t" r="r" b="b"/>
              <a:pathLst>
                <a:path w="391987" h="746927">
                  <a:moveTo>
                    <a:pt x="0" y="746927"/>
                  </a:moveTo>
                  <a:lnTo>
                    <a:pt x="195993" y="746927"/>
                  </a:lnTo>
                  <a:lnTo>
                    <a:pt x="195993" y="0"/>
                  </a:lnTo>
                  <a:lnTo>
                    <a:pt x="391987" y="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187605" tIns="352375" rIns="187606" bIns="352376" numCol="1" spcCol="1270" anchor="ctr" anchorCtr="0">
              <a:noAutofit/>
            </a:bodyPr>
            <a:lstStyle/>
            <a:p>
              <a:pPr lvl="0" algn="ctr" defTabSz="222250">
                <a:lnSpc>
                  <a:spcPct val="90000"/>
                </a:lnSpc>
                <a:spcBef>
                  <a:spcPct val="0"/>
                </a:spcBef>
                <a:spcAft>
                  <a:spcPct val="35000"/>
                </a:spcAft>
              </a:pPr>
              <a:endParaRPr lang="en-US" sz="500" kern="1200"/>
            </a:p>
          </p:txBody>
        </p:sp>
        <p:sp>
          <p:nvSpPr>
            <p:cNvPr id="16" name="Freeform 15"/>
            <p:cNvSpPr/>
            <p:nvPr/>
          </p:nvSpPr>
          <p:spPr>
            <a:xfrm>
              <a:off x="3430673" y="2280361"/>
              <a:ext cx="391987" cy="91440"/>
            </a:xfrm>
            <a:custGeom>
              <a:avLst/>
              <a:gdLst>
                <a:gd name="connsiteX0" fmla="*/ 0 w 391987"/>
                <a:gd name="connsiteY0" fmla="*/ 45720 h 91440"/>
                <a:gd name="connsiteX1" fmla="*/ 391987 w 391987"/>
                <a:gd name="connsiteY1" fmla="*/ 45720 h 91440"/>
              </a:gdLst>
              <a:ahLst/>
              <a:cxnLst>
                <a:cxn ang="0">
                  <a:pos x="connsiteX0" y="connsiteY0"/>
                </a:cxn>
                <a:cxn ang="0">
                  <a:pos x="connsiteX1" y="connsiteY1"/>
                </a:cxn>
              </a:cxnLst>
              <a:rect l="l" t="t" r="r" b="b"/>
              <a:pathLst>
                <a:path w="391987" h="91440">
                  <a:moveTo>
                    <a:pt x="0" y="45720"/>
                  </a:moveTo>
                  <a:lnTo>
                    <a:pt x="391987"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198894" tIns="35921" rIns="198894" bIns="35920" numCol="1" spcCol="1270" anchor="ctr" anchorCtr="0">
              <a:noAutofit/>
            </a:bodyPr>
            <a:lstStyle/>
            <a:p>
              <a:pPr lvl="0" algn="ctr" defTabSz="222250">
                <a:lnSpc>
                  <a:spcPct val="90000"/>
                </a:lnSpc>
                <a:spcBef>
                  <a:spcPct val="0"/>
                </a:spcBef>
                <a:spcAft>
                  <a:spcPct val="35000"/>
                </a:spcAft>
              </a:pPr>
              <a:endParaRPr lang="en-US" sz="500" kern="1200"/>
            </a:p>
          </p:txBody>
        </p:sp>
        <p:sp>
          <p:nvSpPr>
            <p:cNvPr id="17" name="Freeform 16"/>
            <p:cNvSpPr/>
            <p:nvPr/>
          </p:nvSpPr>
          <p:spPr>
            <a:xfrm>
              <a:off x="1512678" y="2326081"/>
              <a:ext cx="391987" cy="1493855"/>
            </a:xfrm>
            <a:custGeom>
              <a:avLst/>
              <a:gdLst>
                <a:gd name="connsiteX0" fmla="*/ 0 w 391987"/>
                <a:gd name="connsiteY0" fmla="*/ 1493855 h 1493855"/>
                <a:gd name="connsiteX1" fmla="*/ 195993 w 391987"/>
                <a:gd name="connsiteY1" fmla="*/ 1493855 h 1493855"/>
                <a:gd name="connsiteX2" fmla="*/ 195993 w 391987"/>
                <a:gd name="connsiteY2" fmla="*/ 0 h 1493855"/>
                <a:gd name="connsiteX3" fmla="*/ 391987 w 391987"/>
                <a:gd name="connsiteY3" fmla="*/ 0 h 1493855"/>
              </a:gdLst>
              <a:ahLst/>
              <a:cxnLst>
                <a:cxn ang="0">
                  <a:pos x="connsiteX0" y="connsiteY0"/>
                </a:cxn>
                <a:cxn ang="0">
                  <a:pos x="connsiteX1" y="connsiteY1"/>
                </a:cxn>
                <a:cxn ang="0">
                  <a:pos x="connsiteX2" y="connsiteY2"/>
                </a:cxn>
                <a:cxn ang="0">
                  <a:pos x="connsiteX3" y="connsiteY3"/>
                </a:cxn>
              </a:cxnLst>
              <a:rect l="l" t="t" r="r" b="b"/>
              <a:pathLst>
                <a:path w="391987" h="1493855">
                  <a:moveTo>
                    <a:pt x="0" y="1493855"/>
                  </a:moveTo>
                  <a:lnTo>
                    <a:pt x="195993" y="1493855"/>
                  </a:lnTo>
                  <a:lnTo>
                    <a:pt x="195993" y="0"/>
                  </a:lnTo>
                  <a:lnTo>
                    <a:pt x="391987" y="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170083" tIns="708317" rIns="170083" bIns="708317" numCol="1" spcCol="1270" anchor="ctr" anchorCtr="0">
              <a:noAutofit/>
            </a:bodyPr>
            <a:lstStyle/>
            <a:p>
              <a:pPr lvl="0" algn="ctr" defTabSz="222250">
                <a:lnSpc>
                  <a:spcPct val="90000"/>
                </a:lnSpc>
                <a:spcBef>
                  <a:spcPct val="0"/>
                </a:spcBef>
                <a:spcAft>
                  <a:spcPct val="35000"/>
                </a:spcAft>
              </a:pPr>
              <a:endParaRPr lang="en-US" sz="500" kern="1200"/>
            </a:p>
          </p:txBody>
        </p:sp>
        <p:sp>
          <p:nvSpPr>
            <p:cNvPr id="18" name="Freeform 17"/>
            <p:cNvSpPr/>
            <p:nvPr/>
          </p:nvSpPr>
          <p:spPr>
            <a:xfrm>
              <a:off x="3430673" y="1533434"/>
              <a:ext cx="391987" cy="91440"/>
            </a:xfrm>
            <a:custGeom>
              <a:avLst/>
              <a:gdLst>
                <a:gd name="connsiteX0" fmla="*/ 0 w 391987"/>
                <a:gd name="connsiteY0" fmla="*/ 45720 h 91440"/>
                <a:gd name="connsiteX1" fmla="*/ 391987 w 391987"/>
                <a:gd name="connsiteY1" fmla="*/ 45720 h 91440"/>
              </a:gdLst>
              <a:ahLst/>
              <a:cxnLst>
                <a:cxn ang="0">
                  <a:pos x="connsiteX0" y="connsiteY0"/>
                </a:cxn>
                <a:cxn ang="0">
                  <a:pos x="connsiteX1" y="connsiteY1"/>
                </a:cxn>
              </a:cxnLst>
              <a:rect l="l" t="t" r="r" b="b"/>
              <a:pathLst>
                <a:path w="391987" h="91440">
                  <a:moveTo>
                    <a:pt x="0" y="45720"/>
                  </a:moveTo>
                  <a:lnTo>
                    <a:pt x="391987"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198894" tIns="35920" rIns="198894" bIns="35921" numCol="1" spcCol="1270" anchor="ctr" anchorCtr="0">
              <a:noAutofit/>
            </a:bodyPr>
            <a:lstStyle/>
            <a:p>
              <a:pPr lvl="0" algn="ctr" defTabSz="222250">
                <a:lnSpc>
                  <a:spcPct val="90000"/>
                </a:lnSpc>
                <a:spcBef>
                  <a:spcPct val="0"/>
                </a:spcBef>
                <a:spcAft>
                  <a:spcPct val="35000"/>
                </a:spcAft>
              </a:pPr>
              <a:endParaRPr lang="en-US" sz="500" kern="1200"/>
            </a:p>
          </p:txBody>
        </p:sp>
        <p:sp>
          <p:nvSpPr>
            <p:cNvPr id="19" name="Freeform 18"/>
            <p:cNvSpPr/>
            <p:nvPr/>
          </p:nvSpPr>
          <p:spPr>
            <a:xfrm>
              <a:off x="1512678" y="1579154"/>
              <a:ext cx="391987" cy="2240782"/>
            </a:xfrm>
            <a:custGeom>
              <a:avLst/>
              <a:gdLst>
                <a:gd name="connsiteX0" fmla="*/ 0 w 391987"/>
                <a:gd name="connsiteY0" fmla="*/ 2240782 h 2240782"/>
                <a:gd name="connsiteX1" fmla="*/ 195993 w 391987"/>
                <a:gd name="connsiteY1" fmla="*/ 2240782 h 2240782"/>
                <a:gd name="connsiteX2" fmla="*/ 195993 w 391987"/>
                <a:gd name="connsiteY2" fmla="*/ 0 h 2240782"/>
                <a:gd name="connsiteX3" fmla="*/ 391987 w 391987"/>
                <a:gd name="connsiteY3" fmla="*/ 0 h 2240782"/>
              </a:gdLst>
              <a:ahLst/>
              <a:cxnLst>
                <a:cxn ang="0">
                  <a:pos x="connsiteX0" y="connsiteY0"/>
                </a:cxn>
                <a:cxn ang="0">
                  <a:pos x="connsiteX1" y="connsiteY1"/>
                </a:cxn>
                <a:cxn ang="0">
                  <a:pos x="connsiteX2" y="connsiteY2"/>
                </a:cxn>
                <a:cxn ang="0">
                  <a:pos x="connsiteX3" y="connsiteY3"/>
                </a:cxn>
              </a:cxnLst>
              <a:rect l="l" t="t" r="r" b="b"/>
              <a:pathLst>
                <a:path w="391987" h="2240782">
                  <a:moveTo>
                    <a:pt x="0" y="2240782"/>
                  </a:moveTo>
                  <a:lnTo>
                    <a:pt x="195993" y="2240782"/>
                  </a:lnTo>
                  <a:lnTo>
                    <a:pt x="195993" y="0"/>
                  </a:lnTo>
                  <a:lnTo>
                    <a:pt x="391987" y="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151823" tIns="1063521" rIns="151824" bIns="1063521" numCol="1" spcCol="1270" anchor="ctr" anchorCtr="0">
              <a:noAutofit/>
            </a:bodyPr>
            <a:lstStyle/>
            <a:p>
              <a:pPr lvl="0" algn="ctr" defTabSz="355600">
                <a:lnSpc>
                  <a:spcPct val="90000"/>
                </a:lnSpc>
                <a:spcBef>
                  <a:spcPct val="0"/>
                </a:spcBef>
                <a:spcAft>
                  <a:spcPct val="35000"/>
                </a:spcAft>
              </a:pPr>
              <a:endParaRPr lang="en-US" sz="800" kern="1200"/>
            </a:p>
          </p:txBody>
        </p:sp>
        <p:sp>
          <p:nvSpPr>
            <p:cNvPr id="20" name="Freeform 19"/>
            <p:cNvSpPr/>
            <p:nvPr/>
          </p:nvSpPr>
          <p:spPr>
            <a:xfrm rot="16200000">
              <a:off x="-358572" y="3521165"/>
              <a:ext cx="3144958" cy="597542"/>
            </a:xfrm>
            <a:custGeom>
              <a:avLst/>
              <a:gdLst>
                <a:gd name="connsiteX0" fmla="*/ 0 w 3144958"/>
                <a:gd name="connsiteY0" fmla="*/ 0 h 597542"/>
                <a:gd name="connsiteX1" fmla="*/ 3144958 w 3144958"/>
                <a:gd name="connsiteY1" fmla="*/ 0 h 597542"/>
                <a:gd name="connsiteX2" fmla="*/ 3144958 w 3144958"/>
                <a:gd name="connsiteY2" fmla="*/ 597542 h 597542"/>
                <a:gd name="connsiteX3" fmla="*/ 0 w 3144958"/>
                <a:gd name="connsiteY3" fmla="*/ 597542 h 597542"/>
                <a:gd name="connsiteX4" fmla="*/ 0 w 3144958"/>
                <a:gd name="connsiteY4" fmla="*/ 0 h 59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4958" h="597542">
                  <a:moveTo>
                    <a:pt x="0" y="0"/>
                  </a:moveTo>
                  <a:lnTo>
                    <a:pt x="3144958" y="0"/>
                  </a:lnTo>
                  <a:lnTo>
                    <a:pt x="3144958" y="597542"/>
                  </a:lnTo>
                  <a:lnTo>
                    <a:pt x="0" y="597542"/>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765" tIns="24764" rIns="24765" bIns="24765" numCol="1" spcCol="1270" anchor="ctr" anchorCtr="0">
              <a:noAutofit/>
            </a:bodyPr>
            <a:lstStyle/>
            <a:p>
              <a:pPr lvl="0" algn="ctr" defTabSz="1733550">
                <a:lnSpc>
                  <a:spcPct val="90000"/>
                </a:lnSpc>
                <a:spcBef>
                  <a:spcPct val="0"/>
                </a:spcBef>
                <a:spcAft>
                  <a:spcPct val="35000"/>
                </a:spcAft>
              </a:pPr>
              <a:r>
                <a:rPr lang="en-US" sz="4000" kern="1200" dirty="0"/>
                <a:t>Network</a:t>
              </a:r>
            </a:p>
          </p:txBody>
        </p:sp>
        <p:sp>
          <p:nvSpPr>
            <p:cNvPr id="21" name="Freeform 20"/>
            <p:cNvSpPr/>
            <p:nvPr/>
          </p:nvSpPr>
          <p:spPr>
            <a:xfrm>
              <a:off x="1904665" y="1280383"/>
              <a:ext cx="1715706" cy="597542"/>
            </a:xfrm>
            <a:custGeom>
              <a:avLst/>
              <a:gdLst>
                <a:gd name="connsiteX0" fmla="*/ 0 w 1959937"/>
                <a:gd name="connsiteY0" fmla="*/ 0 h 597542"/>
                <a:gd name="connsiteX1" fmla="*/ 1959937 w 1959937"/>
                <a:gd name="connsiteY1" fmla="*/ 0 h 597542"/>
                <a:gd name="connsiteX2" fmla="*/ 1959937 w 1959937"/>
                <a:gd name="connsiteY2" fmla="*/ 597542 h 597542"/>
                <a:gd name="connsiteX3" fmla="*/ 0 w 1959937"/>
                <a:gd name="connsiteY3" fmla="*/ 597542 h 597542"/>
                <a:gd name="connsiteX4" fmla="*/ 0 w 1959937"/>
                <a:gd name="connsiteY4" fmla="*/ 0 h 59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9937" h="597542">
                  <a:moveTo>
                    <a:pt x="0" y="0"/>
                  </a:moveTo>
                  <a:lnTo>
                    <a:pt x="1959937" y="0"/>
                  </a:lnTo>
                  <a:lnTo>
                    <a:pt x="1959937" y="597542"/>
                  </a:lnTo>
                  <a:lnTo>
                    <a:pt x="0" y="597542"/>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2000" kern="1200" dirty="0"/>
                <a:t>Virtual Network</a:t>
              </a:r>
            </a:p>
          </p:txBody>
        </p:sp>
        <p:sp>
          <p:nvSpPr>
            <p:cNvPr id="22" name="Freeform 21"/>
            <p:cNvSpPr/>
            <p:nvPr/>
          </p:nvSpPr>
          <p:spPr>
            <a:xfrm>
              <a:off x="3805642" y="1280383"/>
              <a:ext cx="3669054" cy="597542"/>
            </a:xfrm>
            <a:custGeom>
              <a:avLst/>
              <a:gdLst>
                <a:gd name="connsiteX0" fmla="*/ 0 w 2622514"/>
                <a:gd name="connsiteY0" fmla="*/ 0 h 597542"/>
                <a:gd name="connsiteX1" fmla="*/ 2622514 w 2622514"/>
                <a:gd name="connsiteY1" fmla="*/ 0 h 597542"/>
                <a:gd name="connsiteX2" fmla="*/ 2622514 w 2622514"/>
                <a:gd name="connsiteY2" fmla="*/ 597542 h 597542"/>
                <a:gd name="connsiteX3" fmla="*/ 0 w 2622514"/>
                <a:gd name="connsiteY3" fmla="*/ 597542 h 597542"/>
                <a:gd name="connsiteX4" fmla="*/ 0 w 2622514"/>
                <a:gd name="connsiteY4" fmla="*/ 0 h 59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2514" h="597542">
                  <a:moveTo>
                    <a:pt x="0" y="0"/>
                  </a:moveTo>
                  <a:lnTo>
                    <a:pt x="2622514" y="0"/>
                  </a:lnTo>
                  <a:lnTo>
                    <a:pt x="2622514" y="597542"/>
                  </a:lnTo>
                  <a:lnTo>
                    <a:pt x="0" y="597542"/>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lvl="0" algn="just" defTabSz="488950">
                <a:lnSpc>
                  <a:spcPct val="90000"/>
                </a:lnSpc>
                <a:spcBef>
                  <a:spcPct val="0"/>
                </a:spcBef>
                <a:spcAft>
                  <a:spcPct val="35000"/>
                </a:spcAft>
              </a:pPr>
              <a:r>
                <a:rPr lang="en-US" sz="1500" kern="1200" dirty="0"/>
                <a:t>Provision private networks, optionally connect to on-premises datacenters</a:t>
              </a:r>
            </a:p>
          </p:txBody>
        </p:sp>
        <p:sp>
          <p:nvSpPr>
            <p:cNvPr id="23" name="Freeform 22"/>
            <p:cNvSpPr/>
            <p:nvPr/>
          </p:nvSpPr>
          <p:spPr>
            <a:xfrm>
              <a:off x="1904665" y="2027310"/>
              <a:ext cx="1715706" cy="597542"/>
            </a:xfrm>
            <a:custGeom>
              <a:avLst/>
              <a:gdLst>
                <a:gd name="connsiteX0" fmla="*/ 0 w 1959937"/>
                <a:gd name="connsiteY0" fmla="*/ 0 h 597542"/>
                <a:gd name="connsiteX1" fmla="*/ 1959937 w 1959937"/>
                <a:gd name="connsiteY1" fmla="*/ 0 h 597542"/>
                <a:gd name="connsiteX2" fmla="*/ 1959937 w 1959937"/>
                <a:gd name="connsiteY2" fmla="*/ 597542 h 597542"/>
                <a:gd name="connsiteX3" fmla="*/ 0 w 1959937"/>
                <a:gd name="connsiteY3" fmla="*/ 597542 h 597542"/>
                <a:gd name="connsiteX4" fmla="*/ 0 w 1959937"/>
                <a:gd name="connsiteY4" fmla="*/ 0 h 59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9937" h="597542">
                  <a:moveTo>
                    <a:pt x="0" y="0"/>
                  </a:moveTo>
                  <a:lnTo>
                    <a:pt x="1959937" y="0"/>
                  </a:lnTo>
                  <a:lnTo>
                    <a:pt x="1959937" y="597542"/>
                  </a:lnTo>
                  <a:lnTo>
                    <a:pt x="0" y="597542"/>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2000" kern="1200" dirty="0"/>
                <a:t>Load Balancer</a:t>
              </a:r>
            </a:p>
          </p:txBody>
        </p:sp>
        <p:sp>
          <p:nvSpPr>
            <p:cNvPr id="24" name="Freeform 23"/>
            <p:cNvSpPr/>
            <p:nvPr/>
          </p:nvSpPr>
          <p:spPr>
            <a:xfrm>
              <a:off x="3805642" y="2027310"/>
              <a:ext cx="3669054" cy="597542"/>
            </a:xfrm>
            <a:custGeom>
              <a:avLst/>
              <a:gdLst>
                <a:gd name="connsiteX0" fmla="*/ 0 w 1959937"/>
                <a:gd name="connsiteY0" fmla="*/ 0 h 597542"/>
                <a:gd name="connsiteX1" fmla="*/ 1959937 w 1959937"/>
                <a:gd name="connsiteY1" fmla="*/ 0 h 597542"/>
                <a:gd name="connsiteX2" fmla="*/ 1959937 w 1959937"/>
                <a:gd name="connsiteY2" fmla="*/ 597542 h 597542"/>
                <a:gd name="connsiteX3" fmla="*/ 0 w 1959937"/>
                <a:gd name="connsiteY3" fmla="*/ 597542 h 597542"/>
                <a:gd name="connsiteX4" fmla="*/ 0 w 1959937"/>
                <a:gd name="connsiteY4" fmla="*/ 0 h 59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9937" h="597542">
                  <a:moveTo>
                    <a:pt x="0" y="0"/>
                  </a:moveTo>
                  <a:lnTo>
                    <a:pt x="1959937" y="0"/>
                  </a:lnTo>
                  <a:lnTo>
                    <a:pt x="1959937" y="597542"/>
                  </a:lnTo>
                  <a:lnTo>
                    <a:pt x="0" y="597542"/>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lvl="0" algn="just" defTabSz="488950">
                <a:lnSpc>
                  <a:spcPct val="90000"/>
                </a:lnSpc>
                <a:spcBef>
                  <a:spcPct val="0"/>
                </a:spcBef>
                <a:spcAft>
                  <a:spcPct val="35000"/>
                </a:spcAft>
              </a:pPr>
              <a:r>
                <a:rPr lang="en-US" sz="1500" kern="1200" dirty="0"/>
                <a:t>Deliver high availability and network performance to your applications</a:t>
              </a:r>
            </a:p>
          </p:txBody>
        </p:sp>
        <p:sp>
          <p:nvSpPr>
            <p:cNvPr id="25" name="Freeform 24"/>
            <p:cNvSpPr/>
            <p:nvPr/>
          </p:nvSpPr>
          <p:spPr>
            <a:xfrm>
              <a:off x="1904665" y="2774238"/>
              <a:ext cx="1715706" cy="597542"/>
            </a:xfrm>
            <a:custGeom>
              <a:avLst/>
              <a:gdLst>
                <a:gd name="connsiteX0" fmla="*/ 0 w 1959937"/>
                <a:gd name="connsiteY0" fmla="*/ 0 h 597542"/>
                <a:gd name="connsiteX1" fmla="*/ 1959937 w 1959937"/>
                <a:gd name="connsiteY1" fmla="*/ 0 h 597542"/>
                <a:gd name="connsiteX2" fmla="*/ 1959937 w 1959937"/>
                <a:gd name="connsiteY2" fmla="*/ 597542 h 597542"/>
                <a:gd name="connsiteX3" fmla="*/ 0 w 1959937"/>
                <a:gd name="connsiteY3" fmla="*/ 597542 h 597542"/>
                <a:gd name="connsiteX4" fmla="*/ 0 w 1959937"/>
                <a:gd name="connsiteY4" fmla="*/ 0 h 59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9937" h="597542">
                  <a:moveTo>
                    <a:pt x="0" y="0"/>
                  </a:moveTo>
                  <a:lnTo>
                    <a:pt x="1959937" y="0"/>
                  </a:lnTo>
                  <a:lnTo>
                    <a:pt x="1959937" y="597542"/>
                  </a:lnTo>
                  <a:lnTo>
                    <a:pt x="0" y="597542"/>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2000" kern="1200" dirty="0"/>
                <a:t>Application Gateway</a:t>
              </a:r>
            </a:p>
          </p:txBody>
        </p:sp>
        <p:sp>
          <p:nvSpPr>
            <p:cNvPr id="26" name="Freeform 25"/>
            <p:cNvSpPr/>
            <p:nvPr/>
          </p:nvSpPr>
          <p:spPr>
            <a:xfrm>
              <a:off x="3805642" y="2774238"/>
              <a:ext cx="3669054" cy="597542"/>
            </a:xfrm>
            <a:custGeom>
              <a:avLst/>
              <a:gdLst>
                <a:gd name="connsiteX0" fmla="*/ 0 w 1959937"/>
                <a:gd name="connsiteY0" fmla="*/ 0 h 597542"/>
                <a:gd name="connsiteX1" fmla="*/ 1959937 w 1959937"/>
                <a:gd name="connsiteY1" fmla="*/ 0 h 597542"/>
                <a:gd name="connsiteX2" fmla="*/ 1959937 w 1959937"/>
                <a:gd name="connsiteY2" fmla="*/ 597542 h 597542"/>
                <a:gd name="connsiteX3" fmla="*/ 0 w 1959937"/>
                <a:gd name="connsiteY3" fmla="*/ 597542 h 597542"/>
                <a:gd name="connsiteX4" fmla="*/ 0 w 1959937"/>
                <a:gd name="connsiteY4" fmla="*/ 0 h 59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9937" h="597542">
                  <a:moveTo>
                    <a:pt x="0" y="0"/>
                  </a:moveTo>
                  <a:lnTo>
                    <a:pt x="1959937" y="0"/>
                  </a:lnTo>
                  <a:lnTo>
                    <a:pt x="1959937" y="597542"/>
                  </a:lnTo>
                  <a:lnTo>
                    <a:pt x="0" y="597542"/>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lvl="0" algn="just" defTabSz="488950">
                <a:lnSpc>
                  <a:spcPct val="90000"/>
                </a:lnSpc>
                <a:spcBef>
                  <a:spcPct val="0"/>
                </a:spcBef>
                <a:spcAft>
                  <a:spcPct val="35000"/>
                </a:spcAft>
              </a:pPr>
              <a:r>
                <a:rPr lang="en-US" sz="1500" kern="1200" dirty="0"/>
                <a:t>Build secure, scalable, and highly available web front ends in Azure</a:t>
              </a:r>
            </a:p>
          </p:txBody>
        </p:sp>
        <p:sp>
          <p:nvSpPr>
            <p:cNvPr id="27" name="Freeform 26"/>
            <p:cNvSpPr/>
            <p:nvPr/>
          </p:nvSpPr>
          <p:spPr>
            <a:xfrm>
              <a:off x="1904665" y="3521165"/>
              <a:ext cx="1715706" cy="597542"/>
            </a:xfrm>
            <a:custGeom>
              <a:avLst/>
              <a:gdLst>
                <a:gd name="connsiteX0" fmla="*/ 0 w 1959937"/>
                <a:gd name="connsiteY0" fmla="*/ 0 h 597542"/>
                <a:gd name="connsiteX1" fmla="*/ 1959937 w 1959937"/>
                <a:gd name="connsiteY1" fmla="*/ 0 h 597542"/>
                <a:gd name="connsiteX2" fmla="*/ 1959937 w 1959937"/>
                <a:gd name="connsiteY2" fmla="*/ 597542 h 597542"/>
                <a:gd name="connsiteX3" fmla="*/ 0 w 1959937"/>
                <a:gd name="connsiteY3" fmla="*/ 597542 h 597542"/>
                <a:gd name="connsiteX4" fmla="*/ 0 w 1959937"/>
                <a:gd name="connsiteY4" fmla="*/ 0 h 59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9937" h="597542">
                  <a:moveTo>
                    <a:pt x="0" y="0"/>
                  </a:moveTo>
                  <a:lnTo>
                    <a:pt x="1959937" y="0"/>
                  </a:lnTo>
                  <a:lnTo>
                    <a:pt x="1959937" y="597542"/>
                  </a:lnTo>
                  <a:lnTo>
                    <a:pt x="0" y="597542"/>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2000" kern="1200" dirty="0"/>
                <a:t>Traffic Manager</a:t>
              </a:r>
            </a:p>
          </p:txBody>
        </p:sp>
        <p:sp>
          <p:nvSpPr>
            <p:cNvPr id="28" name="Freeform 27"/>
            <p:cNvSpPr/>
            <p:nvPr/>
          </p:nvSpPr>
          <p:spPr>
            <a:xfrm>
              <a:off x="3805642" y="3521165"/>
              <a:ext cx="3669054" cy="597542"/>
            </a:xfrm>
            <a:custGeom>
              <a:avLst/>
              <a:gdLst>
                <a:gd name="connsiteX0" fmla="*/ 0 w 1959937"/>
                <a:gd name="connsiteY0" fmla="*/ 0 h 597542"/>
                <a:gd name="connsiteX1" fmla="*/ 1959937 w 1959937"/>
                <a:gd name="connsiteY1" fmla="*/ 0 h 597542"/>
                <a:gd name="connsiteX2" fmla="*/ 1959937 w 1959937"/>
                <a:gd name="connsiteY2" fmla="*/ 597542 h 597542"/>
                <a:gd name="connsiteX3" fmla="*/ 0 w 1959937"/>
                <a:gd name="connsiteY3" fmla="*/ 597542 h 597542"/>
                <a:gd name="connsiteX4" fmla="*/ 0 w 1959937"/>
                <a:gd name="connsiteY4" fmla="*/ 0 h 59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9937" h="597542">
                  <a:moveTo>
                    <a:pt x="0" y="0"/>
                  </a:moveTo>
                  <a:lnTo>
                    <a:pt x="1959937" y="0"/>
                  </a:lnTo>
                  <a:lnTo>
                    <a:pt x="1959937" y="597542"/>
                  </a:lnTo>
                  <a:lnTo>
                    <a:pt x="0" y="597542"/>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lvl="0" algn="just" defTabSz="488950">
                <a:lnSpc>
                  <a:spcPct val="90000"/>
                </a:lnSpc>
                <a:spcBef>
                  <a:spcPct val="0"/>
                </a:spcBef>
                <a:spcAft>
                  <a:spcPct val="35000"/>
                </a:spcAft>
              </a:pPr>
              <a:r>
                <a:rPr lang="en-US" sz="1500" kern="1200" dirty="0"/>
                <a:t>Route incoming traffic for high performance and availability</a:t>
              </a:r>
            </a:p>
          </p:txBody>
        </p:sp>
        <p:sp>
          <p:nvSpPr>
            <p:cNvPr id="29" name="Freeform 28"/>
            <p:cNvSpPr/>
            <p:nvPr/>
          </p:nvSpPr>
          <p:spPr>
            <a:xfrm>
              <a:off x="1904665" y="4268093"/>
              <a:ext cx="1715706" cy="597542"/>
            </a:xfrm>
            <a:custGeom>
              <a:avLst/>
              <a:gdLst>
                <a:gd name="connsiteX0" fmla="*/ 0 w 1959937"/>
                <a:gd name="connsiteY0" fmla="*/ 0 h 597542"/>
                <a:gd name="connsiteX1" fmla="*/ 1959937 w 1959937"/>
                <a:gd name="connsiteY1" fmla="*/ 0 h 597542"/>
                <a:gd name="connsiteX2" fmla="*/ 1959937 w 1959937"/>
                <a:gd name="connsiteY2" fmla="*/ 597542 h 597542"/>
                <a:gd name="connsiteX3" fmla="*/ 0 w 1959937"/>
                <a:gd name="connsiteY3" fmla="*/ 597542 h 597542"/>
                <a:gd name="connsiteX4" fmla="*/ 0 w 1959937"/>
                <a:gd name="connsiteY4" fmla="*/ 0 h 59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9937" h="597542">
                  <a:moveTo>
                    <a:pt x="0" y="0"/>
                  </a:moveTo>
                  <a:lnTo>
                    <a:pt x="1959937" y="0"/>
                  </a:lnTo>
                  <a:lnTo>
                    <a:pt x="1959937" y="597542"/>
                  </a:lnTo>
                  <a:lnTo>
                    <a:pt x="0" y="597542"/>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2000" kern="1200" dirty="0"/>
                <a:t>Express Route</a:t>
              </a:r>
            </a:p>
          </p:txBody>
        </p:sp>
        <p:sp>
          <p:nvSpPr>
            <p:cNvPr id="30" name="Freeform 29"/>
            <p:cNvSpPr/>
            <p:nvPr/>
          </p:nvSpPr>
          <p:spPr>
            <a:xfrm>
              <a:off x="3805642" y="4268093"/>
              <a:ext cx="3669054" cy="597542"/>
            </a:xfrm>
            <a:custGeom>
              <a:avLst/>
              <a:gdLst>
                <a:gd name="connsiteX0" fmla="*/ 0 w 1959937"/>
                <a:gd name="connsiteY0" fmla="*/ 0 h 597542"/>
                <a:gd name="connsiteX1" fmla="*/ 1959937 w 1959937"/>
                <a:gd name="connsiteY1" fmla="*/ 0 h 597542"/>
                <a:gd name="connsiteX2" fmla="*/ 1959937 w 1959937"/>
                <a:gd name="connsiteY2" fmla="*/ 597542 h 597542"/>
                <a:gd name="connsiteX3" fmla="*/ 0 w 1959937"/>
                <a:gd name="connsiteY3" fmla="*/ 597542 h 597542"/>
                <a:gd name="connsiteX4" fmla="*/ 0 w 1959937"/>
                <a:gd name="connsiteY4" fmla="*/ 0 h 59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9937" h="597542">
                  <a:moveTo>
                    <a:pt x="0" y="0"/>
                  </a:moveTo>
                  <a:lnTo>
                    <a:pt x="1959937" y="0"/>
                  </a:lnTo>
                  <a:lnTo>
                    <a:pt x="1959937" y="597542"/>
                  </a:lnTo>
                  <a:lnTo>
                    <a:pt x="0" y="597542"/>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lvl="0" algn="just" defTabSz="488950">
                <a:lnSpc>
                  <a:spcPct val="90000"/>
                </a:lnSpc>
                <a:spcBef>
                  <a:spcPct val="0"/>
                </a:spcBef>
                <a:spcAft>
                  <a:spcPct val="35000"/>
                </a:spcAft>
              </a:pPr>
              <a:r>
                <a:rPr lang="en-US" sz="1500" kern="1200" dirty="0"/>
                <a:t>Used to connect private data centers to cloud in a private connection mode</a:t>
              </a:r>
            </a:p>
          </p:txBody>
        </p:sp>
        <p:sp>
          <p:nvSpPr>
            <p:cNvPr id="31" name="Freeform 30"/>
            <p:cNvSpPr/>
            <p:nvPr/>
          </p:nvSpPr>
          <p:spPr>
            <a:xfrm>
              <a:off x="1904665" y="5015021"/>
              <a:ext cx="1715706" cy="597542"/>
            </a:xfrm>
            <a:custGeom>
              <a:avLst/>
              <a:gdLst>
                <a:gd name="connsiteX0" fmla="*/ 0 w 1959937"/>
                <a:gd name="connsiteY0" fmla="*/ 0 h 597542"/>
                <a:gd name="connsiteX1" fmla="*/ 1959937 w 1959937"/>
                <a:gd name="connsiteY1" fmla="*/ 0 h 597542"/>
                <a:gd name="connsiteX2" fmla="*/ 1959937 w 1959937"/>
                <a:gd name="connsiteY2" fmla="*/ 597542 h 597542"/>
                <a:gd name="connsiteX3" fmla="*/ 0 w 1959937"/>
                <a:gd name="connsiteY3" fmla="*/ 597542 h 597542"/>
                <a:gd name="connsiteX4" fmla="*/ 0 w 1959937"/>
                <a:gd name="connsiteY4" fmla="*/ 0 h 59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9937" h="597542">
                  <a:moveTo>
                    <a:pt x="0" y="0"/>
                  </a:moveTo>
                  <a:lnTo>
                    <a:pt x="1959937" y="0"/>
                  </a:lnTo>
                  <a:lnTo>
                    <a:pt x="1959937" y="597542"/>
                  </a:lnTo>
                  <a:lnTo>
                    <a:pt x="0" y="597542"/>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2000" kern="1200" dirty="0"/>
                <a:t>VPN</a:t>
              </a:r>
            </a:p>
          </p:txBody>
        </p:sp>
        <p:sp>
          <p:nvSpPr>
            <p:cNvPr id="32" name="Freeform 31"/>
            <p:cNvSpPr/>
            <p:nvPr/>
          </p:nvSpPr>
          <p:spPr>
            <a:xfrm>
              <a:off x="3805642" y="5015021"/>
              <a:ext cx="3669054" cy="597542"/>
            </a:xfrm>
            <a:custGeom>
              <a:avLst/>
              <a:gdLst>
                <a:gd name="connsiteX0" fmla="*/ 0 w 1959937"/>
                <a:gd name="connsiteY0" fmla="*/ 0 h 597542"/>
                <a:gd name="connsiteX1" fmla="*/ 1959937 w 1959937"/>
                <a:gd name="connsiteY1" fmla="*/ 0 h 597542"/>
                <a:gd name="connsiteX2" fmla="*/ 1959937 w 1959937"/>
                <a:gd name="connsiteY2" fmla="*/ 597542 h 597542"/>
                <a:gd name="connsiteX3" fmla="*/ 0 w 1959937"/>
                <a:gd name="connsiteY3" fmla="*/ 597542 h 597542"/>
                <a:gd name="connsiteX4" fmla="*/ 0 w 1959937"/>
                <a:gd name="connsiteY4" fmla="*/ 0 h 59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9937" h="597542">
                  <a:moveTo>
                    <a:pt x="0" y="0"/>
                  </a:moveTo>
                  <a:lnTo>
                    <a:pt x="1959937" y="0"/>
                  </a:lnTo>
                  <a:lnTo>
                    <a:pt x="1959937" y="597542"/>
                  </a:lnTo>
                  <a:lnTo>
                    <a:pt x="0" y="597542"/>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lvl="0" algn="just" defTabSz="488950">
                <a:lnSpc>
                  <a:spcPct val="90000"/>
                </a:lnSpc>
                <a:spcBef>
                  <a:spcPct val="0"/>
                </a:spcBef>
                <a:spcAft>
                  <a:spcPct val="35000"/>
                </a:spcAft>
              </a:pPr>
              <a:r>
                <a:rPr lang="en-US" sz="1500" kern="1200" dirty="0"/>
                <a:t>It delivers the same functionality like Express Route but over the internet</a:t>
              </a:r>
            </a:p>
          </p:txBody>
        </p:sp>
        <p:sp>
          <p:nvSpPr>
            <p:cNvPr id="33" name="Freeform 32"/>
            <p:cNvSpPr/>
            <p:nvPr/>
          </p:nvSpPr>
          <p:spPr>
            <a:xfrm>
              <a:off x="1904665" y="5761948"/>
              <a:ext cx="1715706" cy="597542"/>
            </a:xfrm>
            <a:custGeom>
              <a:avLst/>
              <a:gdLst>
                <a:gd name="connsiteX0" fmla="*/ 0 w 1959937"/>
                <a:gd name="connsiteY0" fmla="*/ 0 h 597542"/>
                <a:gd name="connsiteX1" fmla="*/ 1959937 w 1959937"/>
                <a:gd name="connsiteY1" fmla="*/ 0 h 597542"/>
                <a:gd name="connsiteX2" fmla="*/ 1959937 w 1959937"/>
                <a:gd name="connsiteY2" fmla="*/ 597542 h 597542"/>
                <a:gd name="connsiteX3" fmla="*/ 0 w 1959937"/>
                <a:gd name="connsiteY3" fmla="*/ 597542 h 597542"/>
                <a:gd name="connsiteX4" fmla="*/ 0 w 1959937"/>
                <a:gd name="connsiteY4" fmla="*/ 0 h 59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9937" h="597542">
                  <a:moveTo>
                    <a:pt x="0" y="0"/>
                  </a:moveTo>
                  <a:lnTo>
                    <a:pt x="1959937" y="0"/>
                  </a:lnTo>
                  <a:lnTo>
                    <a:pt x="1959937" y="597542"/>
                  </a:lnTo>
                  <a:lnTo>
                    <a:pt x="0" y="597542"/>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2000" kern="1200" dirty="0"/>
                <a:t>DNS</a:t>
              </a:r>
            </a:p>
          </p:txBody>
        </p:sp>
        <p:sp>
          <p:nvSpPr>
            <p:cNvPr id="34" name="Freeform 33"/>
            <p:cNvSpPr/>
            <p:nvPr/>
          </p:nvSpPr>
          <p:spPr>
            <a:xfrm>
              <a:off x="3805642" y="5761948"/>
              <a:ext cx="3669054" cy="597542"/>
            </a:xfrm>
            <a:custGeom>
              <a:avLst/>
              <a:gdLst>
                <a:gd name="connsiteX0" fmla="*/ 0 w 1959937"/>
                <a:gd name="connsiteY0" fmla="*/ 0 h 597542"/>
                <a:gd name="connsiteX1" fmla="*/ 1959937 w 1959937"/>
                <a:gd name="connsiteY1" fmla="*/ 0 h 597542"/>
                <a:gd name="connsiteX2" fmla="*/ 1959937 w 1959937"/>
                <a:gd name="connsiteY2" fmla="*/ 597542 h 597542"/>
                <a:gd name="connsiteX3" fmla="*/ 0 w 1959937"/>
                <a:gd name="connsiteY3" fmla="*/ 597542 h 597542"/>
                <a:gd name="connsiteX4" fmla="*/ 0 w 1959937"/>
                <a:gd name="connsiteY4" fmla="*/ 0 h 59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9937" h="597542">
                  <a:moveTo>
                    <a:pt x="0" y="0"/>
                  </a:moveTo>
                  <a:lnTo>
                    <a:pt x="1959937" y="0"/>
                  </a:lnTo>
                  <a:lnTo>
                    <a:pt x="1959937" y="597542"/>
                  </a:lnTo>
                  <a:lnTo>
                    <a:pt x="0" y="597542"/>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lvl="0" algn="just" defTabSz="488950">
                <a:lnSpc>
                  <a:spcPct val="90000"/>
                </a:lnSpc>
                <a:spcBef>
                  <a:spcPct val="0"/>
                </a:spcBef>
                <a:spcAft>
                  <a:spcPct val="35000"/>
                </a:spcAft>
              </a:pPr>
              <a:r>
                <a:rPr lang="en-US" sz="1500" kern="1200" dirty="0"/>
                <a:t>Host your DNS domain in Azure</a:t>
              </a:r>
            </a:p>
          </p:txBody>
        </p:sp>
      </p:grpSp>
    </p:spTree>
    <p:extLst>
      <p:ext uri="{BB962C8B-B14F-4D97-AF65-F5344CB8AC3E}">
        <p14:creationId xmlns:p14="http://schemas.microsoft.com/office/powerpoint/2010/main" val="33947366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327257"/>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Azure Compute Service</a:t>
            </a:r>
          </a:p>
        </p:txBody>
      </p:sp>
      <p:sp>
        <p:nvSpPr>
          <p:cNvPr id="3" name="AutoShape 4" descr="Image result for Microsoft Azure">
            <a:extLst>
              <a:ext uri="{FF2B5EF4-FFF2-40B4-BE49-F238E27FC236}">
                <a16:creationId xmlns:a16="http://schemas.microsoft.com/office/drawing/2014/main" id="{22936C06-2E22-482B-9048-FF93A278CC2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712406" y="1280854"/>
            <a:ext cx="10935643" cy="5078164"/>
            <a:chOff x="712406" y="1280854"/>
            <a:chExt cx="10935643" cy="5078164"/>
          </a:xfrm>
        </p:grpSpPr>
        <p:sp>
          <p:nvSpPr>
            <p:cNvPr id="24" name="Freeform 23"/>
            <p:cNvSpPr/>
            <p:nvPr/>
          </p:nvSpPr>
          <p:spPr>
            <a:xfrm>
              <a:off x="4890042" y="5890119"/>
              <a:ext cx="555212" cy="91440"/>
            </a:xfrm>
            <a:custGeom>
              <a:avLst/>
              <a:gdLst>
                <a:gd name="connsiteX0" fmla="*/ 0 w 555212"/>
                <a:gd name="connsiteY0" fmla="*/ 45720 h 91440"/>
                <a:gd name="connsiteX1" fmla="*/ 555212 w 555212"/>
                <a:gd name="connsiteY1" fmla="*/ 45720 h 91440"/>
              </a:gdLst>
              <a:ahLst/>
              <a:cxnLst>
                <a:cxn ang="0">
                  <a:pos x="connsiteX0" y="connsiteY0"/>
                </a:cxn>
                <a:cxn ang="0">
                  <a:pos x="connsiteX1" y="connsiteY1"/>
                </a:cxn>
              </a:cxnLst>
              <a:rect l="l" t="t" r="r" b="b"/>
              <a:pathLst>
                <a:path w="555212" h="91440">
                  <a:moveTo>
                    <a:pt x="0" y="45720"/>
                  </a:moveTo>
                  <a:lnTo>
                    <a:pt x="555212"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76426" tIns="31839" rIns="276426" bIns="31841" numCol="1" spcCol="1270" anchor="ctr" anchorCtr="0">
              <a:noAutofit/>
            </a:bodyPr>
            <a:lstStyle/>
            <a:p>
              <a:pPr lvl="0" algn="ctr" defTabSz="222250">
                <a:lnSpc>
                  <a:spcPct val="90000"/>
                </a:lnSpc>
                <a:spcBef>
                  <a:spcPct val="0"/>
                </a:spcBef>
                <a:spcAft>
                  <a:spcPct val="35000"/>
                </a:spcAft>
              </a:pPr>
              <a:endParaRPr lang="en-US" sz="500" kern="1200"/>
            </a:p>
          </p:txBody>
        </p:sp>
        <p:sp>
          <p:nvSpPr>
            <p:cNvPr id="25" name="Freeform 24"/>
            <p:cNvSpPr/>
            <p:nvPr/>
          </p:nvSpPr>
          <p:spPr>
            <a:xfrm>
              <a:off x="1558766" y="3819937"/>
              <a:ext cx="555212" cy="2115902"/>
            </a:xfrm>
            <a:custGeom>
              <a:avLst/>
              <a:gdLst>
                <a:gd name="connsiteX0" fmla="*/ 0 w 555212"/>
                <a:gd name="connsiteY0" fmla="*/ 0 h 2115902"/>
                <a:gd name="connsiteX1" fmla="*/ 277606 w 555212"/>
                <a:gd name="connsiteY1" fmla="*/ 0 h 2115902"/>
                <a:gd name="connsiteX2" fmla="*/ 277606 w 555212"/>
                <a:gd name="connsiteY2" fmla="*/ 2115902 h 2115902"/>
                <a:gd name="connsiteX3" fmla="*/ 555212 w 555212"/>
                <a:gd name="connsiteY3" fmla="*/ 2115902 h 2115902"/>
              </a:gdLst>
              <a:ahLst/>
              <a:cxnLst>
                <a:cxn ang="0">
                  <a:pos x="connsiteX0" y="connsiteY0"/>
                </a:cxn>
                <a:cxn ang="0">
                  <a:pos x="connsiteX1" y="connsiteY1"/>
                </a:cxn>
                <a:cxn ang="0">
                  <a:pos x="connsiteX2" y="connsiteY2"/>
                </a:cxn>
                <a:cxn ang="0">
                  <a:pos x="connsiteX3" y="connsiteY3"/>
                </a:cxn>
              </a:cxnLst>
              <a:rect l="l" t="t" r="r" b="b"/>
              <a:pathLst>
                <a:path w="555212" h="2115902">
                  <a:moveTo>
                    <a:pt x="0" y="0"/>
                  </a:moveTo>
                  <a:lnTo>
                    <a:pt x="277606" y="0"/>
                  </a:lnTo>
                  <a:lnTo>
                    <a:pt x="277606" y="2115902"/>
                  </a:lnTo>
                  <a:lnTo>
                    <a:pt x="555212" y="2115902"/>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5618" tIns="1003262" rIns="235618" bIns="1003264" numCol="1" spcCol="1270" anchor="ctr" anchorCtr="0">
              <a:noAutofit/>
            </a:bodyPr>
            <a:lstStyle/>
            <a:p>
              <a:pPr lvl="0" algn="ctr" defTabSz="311150">
                <a:lnSpc>
                  <a:spcPct val="90000"/>
                </a:lnSpc>
                <a:spcBef>
                  <a:spcPct val="0"/>
                </a:spcBef>
                <a:spcAft>
                  <a:spcPct val="35000"/>
                </a:spcAft>
              </a:pPr>
              <a:endParaRPr lang="en-US" sz="700" kern="1200"/>
            </a:p>
          </p:txBody>
        </p:sp>
        <p:sp>
          <p:nvSpPr>
            <p:cNvPr id="26" name="Freeform 25"/>
            <p:cNvSpPr/>
            <p:nvPr/>
          </p:nvSpPr>
          <p:spPr>
            <a:xfrm>
              <a:off x="4890042" y="4832168"/>
              <a:ext cx="555212" cy="91440"/>
            </a:xfrm>
            <a:custGeom>
              <a:avLst/>
              <a:gdLst>
                <a:gd name="connsiteX0" fmla="*/ 0 w 555212"/>
                <a:gd name="connsiteY0" fmla="*/ 45720 h 91440"/>
                <a:gd name="connsiteX1" fmla="*/ 555212 w 555212"/>
                <a:gd name="connsiteY1" fmla="*/ 45720 h 91440"/>
              </a:gdLst>
              <a:ahLst/>
              <a:cxnLst>
                <a:cxn ang="0">
                  <a:pos x="connsiteX0" y="connsiteY0"/>
                </a:cxn>
                <a:cxn ang="0">
                  <a:pos x="connsiteX1" y="connsiteY1"/>
                </a:cxn>
              </a:cxnLst>
              <a:rect l="l" t="t" r="r" b="b"/>
              <a:pathLst>
                <a:path w="555212" h="91440">
                  <a:moveTo>
                    <a:pt x="0" y="45720"/>
                  </a:moveTo>
                  <a:lnTo>
                    <a:pt x="555212"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76426" tIns="31839" rIns="276426" bIns="31841" numCol="1" spcCol="1270" anchor="ctr" anchorCtr="0">
              <a:noAutofit/>
            </a:bodyPr>
            <a:lstStyle/>
            <a:p>
              <a:pPr lvl="0" algn="ctr" defTabSz="222250">
                <a:lnSpc>
                  <a:spcPct val="90000"/>
                </a:lnSpc>
                <a:spcBef>
                  <a:spcPct val="0"/>
                </a:spcBef>
                <a:spcAft>
                  <a:spcPct val="35000"/>
                </a:spcAft>
              </a:pPr>
              <a:endParaRPr lang="en-US" sz="500" kern="1200"/>
            </a:p>
          </p:txBody>
        </p:sp>
        <p:sp>
          <p:nvSpPr>
            <p:cNvPr id="27" name="Freeform 26"/>
            <p:cNvSpPr/>
            <p:nvPr/>
          </p:nvSpPr>
          <p:spPr>
            <a:xfrm>
              <a:off x="1558766" y="3819937"/>
              <a:ext cx="555212" cy="1057951"/>
            </a:xfrm>
            <a:custGeom>
              <a:avLst/>
              <a:gdLst>
                <a:gd name="connsiteX0" fmla="*/ 0 w 555212"/>
                <a:gd name="connsiteY0" fmla="*/ 0 h 1057951"/>
                <a:gd name="connsiteX1" fmla="*/ 277606 w 555212"/>
                <a:gd name="connsiteY1" fmla="*/ 0 h 1057951"/>
                <a:gd name="connsiteX2" fmla="*/ 277606 w 555212"/>
                <a:gd name="connsiteY2" fmla="*/ 1057951 h 1057951"/>
                <a:gd name="connsiteX3" fmla="*/ 555212 w 555212"/>
                <a:gd name="connsiteY3" fmla="*/ 1057951 h 1057951"/>
              </a:gdLst>
              <a:ahLst/>
              <a:cxnLst>
                <a:cxn ang="0">
                  <a:pos x="connsiteX0" y="connsiteY0"/>
                </a:cxn>
                <a:cxn ang="0">
                  <a:pos x="connsiteX1" y="connsiteY1"/>
                </a:cxn>
                <a:cxn ang="0">
                  <a:pos x="connsiteX2" y="connsiteY2"/>
                </a:cxn>
                <a:cxn ang="0">
                  <a:pos x="connsiteX3" y="connsiteY3"/>
                </a:cxn>
              </a:cxnLst>
              <a:rect l="l" t="t" r="r" b="b"/>
              <a:pathLst>
                <a:path w="555212" h="1057951">
                  <a:moveTo>
                    <a:pt x="0" y="0"/>
                  </a:moveTo>
                  <a:lnTo>
                    <a:pt x="277606" y="0"/>
                  </a:lnTo>
                  <a:lnTo>
                    <a:pt x="277606" y="1057951"/>
                  </a:lnTo>
                  <a:lnTo>
                    <a:pt x="555212" y="1057951"/>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60437" tIns="499105" rIns="260436" bIns="499107" numCol="1" spcCol="1270" anchor="ctr" anchorCtr="0">
              <a:noAutofit/>
            </a:bodyPr>
            <a:lstStyle/>
            <a:p>
              <a:pPr lvl="0" algn="ctr" defTabSz="222250">
                <a:lnSpc>
                  <a:spcPct val="90000"/>
                </a:lnSpc>
                <a:spcBef>
                  <a:spcPct val="0"/>
                </a:spcBef>
                <a:spcAft>
                  <a:spcPct val="35000"/>
                </a:spcAft>
              </a:pPr>
              <a:endParaRPr lang="en-US" sz="500" kern="1200"/>
            </a:p>
          </p:txBody>
        </p:sp>
        <p:sp>
          <p:nvSpPr>
            <p:cNvPr id="28" name="Freeform 27"/>
            <p:cNvSpPr/>
            <p:nvPr/>
          </p:nvSpPr>
          <p:spPr>
            <a:xfrm>
              <a:off x="4890042" y="3774217"/>
              <a:ext cx="555212" cy="91440"/>
            </a:xfrm>
            <a:custGeom>
              <a:avLst/>
              <a:gdLst>
                <a:gd name="connsiteX0" fmla="*/ 0 w 555212"/>
                <a:gd name="connsiteY0" fmla="*/ 45720 h 91440"/>
                <a:gd name="connsiteX1" fmla="*/ 555212 w 555212"/>
                <a:gd name="connsiteY1" fmla="*/ 45720 h 91440"/>
              </a:gdLst>
              <a:ahLst/>
              <a:cxnLst>
                <a:cxn ang="0">
                  <a:pos x="connsiteX0" y="connsiteY0"/>
                </a:cxn>
                <a:cxn ang="0">
                  <a:pos x="connsiteX1" y="connsiteY1"/>
                </a:cxn>
              </a:cxnLst>
              <a:rect l="l" t="t" r="r" b="b"/>
              <a:pathLst>
                <a:path w="555212" h="91440">
                  <a:moveTo>
                    <a:pt x="0" y="45720"/>
                  </a:moveTo>
                  <a:lnTo>
                    <a:pt x="555212"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76426" tIns="31839" rIns="276426" bIns="31841" numCol="1" spcCol="1270" anchor="ctr" anchorCtr="0">
              <a:noAutofit/>
            </a:bodyPr>
            <a:lstStyle/>
            <a:p>
              <a:pPr lvl="0" algn="ctr" defTabSz="222250">
                <a:lnSpc>
                  <a:spcPct val="90000"/>
                </a:lnSpc>
                <a:spcBef>
                  <a:spcPct val="0"/>
                </a:spcBef>
                <a:spcAft>
                  <a:spcPct val="35000"/>
                </a:spcAft>
              </a:pPr>
              <a:endParaRPr lang="en-US" sz="500" kern="1200"/>
            </a:p>
          </p:txBody>
        </p:sp>
        <p:sp>
          <p:nvSpPr>
            <p:cNvPr id="29" name="Freeform 28"/>
            <p:cNvSpPr/>
            <p:nvPr/>
          </p:nvSpPr>
          <p:spPr>
            <a:xfrm>
              <a:off x="1558766" y="3774217"/>
              <a:ext cx="555212" cy="91440"/>
            </a:xfrm>
            <a:custGeom>
              <a:avLst/>
              <a:gdLst>
                <a:gd name="connsiteX0" fmla="*/ 0 w 555212"/>
                <a:gd name="connsiteY0" fmla="*/ 45720 h 91440"/>
                <a:gd name="connsiteX1" fmla="*/ 555212 w 555212"/>
                <a:gd name="connsiteY1" fmla="*/ 45720 h 91440"/>
              </a:gdLst>
              <a:ahLst/>
              <a:cxnLst>
                <a:cxn ang="0">
                  <a:pos x="connsiteX0" y="connsiteY0"/>
                </a:cxn>
                <a:cxn ang="0">
                  <a:pos x="connsiteX1" y="connsiteY1"/>
                </a:cxn>
              </a:cxnLst>
              <a:rect l="l" t="t" r="r" b="b"/>
              <a:pathLst>
                <a:path w="555212" h="91440">
                  <a:moveTo>
                    <a:pt x="0" y="45720"/>
                  </a:moveTo>
                  <a:lnTo>
                    <a:pt x="555212" y="4572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76426" tIns="31839" rIns="276426" bIns="31841" numCol="1" spcCol="1270" anchor="ctr" anchorCtr="0">
              <a:noAutofit/>
            </a:bodyPr>
            <a:lstStyle/>
            <a:p>
              <a:pPr lvl="0" algn="ctr" defTabSz="222250">
                <a:lnSpc>
                  <a:spcPct val="90000"/>
                </a:lnSpc>
                <a:spcBef>
                  <a:spcPct val="0"/>
                </a:spcBef>
                <a:spcAft>
                  <a:spcPct val="35000"/>
                </a:spcAft>
              </a:pPr>
              <a:endParaRPr lang="en-US" sz="500" kern="1200"/>
            </a:p>
          </p:txBody>
        </p:sp>
        <p:sp>
          <p:nvSpPr>
            <p:cNvPr id="30" name="Freeform 29"/>
            <p:cNvSpPr/>
            <p:nvPr/>
          </p:nvSpPr>
          <p:spPr>
            <a:xfrm>
              <a:off x="4890042" y="2716265"/>
              <a:ext cx="555212" cy="91440"/>
            </a:xfrm>
            <a:custGeom>
              <a:avLst/>
              <a:gdLst>
                <a:gd name="connsiteX0" fmla="*/ 0 w 555212"/>
                <a:gd name="connsiteY0" fmla="*/ 45720 h 91440"/>
                <a:gd name="connsiteX1" fmla="*/ 555212 w 555212"/>
                <a:gd name="connsiteY1" fmla="*/ 45720 h 91440"/>
              </a:gdLst>
              <a:ahLst/>
              <a:cxnLst>
                <a:cxn ang="0">
                  <a:pos x="connsiteX0" y="connsiteY0"/>
                </a:cxn>
                <a:cxn ang="0">
                  <a:pos x="connsiteX1" y="connsiteY1"/>
                </a:cxn>
              </a:cxnLst>
              <a:rect l="l" t="t" r="r" b="b"/>
              <a:pathLst>
                <a:path w="555212" h="91440">
                  <a:moveTo>
                    <a:pt x="0" y="45720"/>
                  </a:moveTo>
                  <a:lnTo>
                    <a:pt x="555212"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76426" tIns="31840" rIns="276426" bIns="31840" numCol="1" spcCol="1270" anchor="ctr" anchorCtr="0">
              <a:noAutofit/>
            </a:bodyPr>
            <a:lstStyle/>
            <a:p>
              <a:pPr lvl="0" algn="ctr" defTabSz="222250">
                <a:lnSpc>
                  <a:spcPct val="90000"/>
                </a:lnSpc>
                <a:spcBef>
                  <a:spcPct val="0"/>
                </a:spcBef>
                <a:spcAft>
                  <a:spcPct val="35000"/>
                </a:spcAft>
              </a:pPr>
              <a:endParaRPr lang="en-US" sz="500" kern="1200"/>
            </a:p>
          </p:txBody>
        </p:sp>
        <p:sp>
          <p:nvSpPr>
            <p:cNvPr id="31" name="Freeform 30"/>
            <p:cNvSpPr/>
            <p:nvPr/>
          </p:nvSpPr>
          <p:spPr>
            <a:xfrm>
              <a:off x="1558766" y="2761985"/>
              <a:ext cx="555212" cy="1057951"/>
            </a:xfrm>
            <a:custGeom>
              <a:avLst/>
              <a:gdLst>
                <a:gd name="connsiteX0" fmla="*/ 0 w 555212"/>
                <a:gd name="connsiteY0" fmla="*/ 1057951 h 1057951"/>
                <a:gd name="connsiteX1" fmla="*/ 277606 w 555212"/>
                <a:gd name="connsiteY1" fmla="*/ 1057951 h 1057951"/>
                <a:gd name="connsiteX2" fmla="*/ 277606 w 555212"/>
                <a:gd name="connsiteY2" fmla="*/ 0 h 1057951"/>
                <a:gd name="connsiteX3" fmla="*/ 555212 w 555212"/>
                <a:gd name="connsiteY3" fmla="*/ 0 h 1057951"/>
              </a:gdLst>
              <a:ahLst/>
              <a:cxnLst>
                <a:cxn ang="0">
                  <a:pos x="connsiteX0" y="connsiteY0"/>
                </a:cxn>
                <a:cxn ang="0">
                  <a:pos x="connsiteX1" y="connsiteY1"/>
                </a:cxn>
                <a:cxn ang="0">
                  <a:pos x="connsiteX2" y="connsiteY2"/>
                </a:cxn>
                <a:cxn ang="0">
                  <a:pos x="connsiteX3" y="connsiteY3"/>
                </a:cxn>
              </a:cxnLst>
              <a:rect l="l" t="t" r="r" b="b"/>
              <a:pathLst>
                <a:path w="555212" h="1057951">
                  <a:moveTo>
                    <a:pt x="0" y="1057951"/>
                  </a:moveTo>
                  <a:lnTo>
                    <a:pt x="277606" y="1057951"/>
                  </a:lnTo>
                  <a:lnTo>
                    <a:pt x="277606" y="0"/>
                  </a:lnTo>
                  <a:lnTo>
                    <a:pt x="555212" y="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60437" tIns="499106" rIns="260436" bIns="499106" numCol="1" spcCol="1270" anchor="ctr" anchorCtr="0">
              <a:noAutofit/>
            </a:bodyPr>
            <a:lstStyle/>
            <a:p>
              <a:pPr lvl="0" algn="ctr" defTabSz="222250">
                <a:lnSpc>
                  <a:spcPct val="90000"/>
                </a:lnSpc>
                <a:spcBef>
                  <a:spcPct val="0"/>
                </a:spcBef>
                <a:spcAft>
                  <a:spcPct val="35000"/>
                </a:spcAft>
              </a:pPr>
              <a:endParaRPr lang="en-US" sz="500" kern="1200"/>
            </a:p>
          </p:txBody>
        </p:sp>
        <p:sp>
          <p:nvSpPr>
            <p:cNvPr id="32" name="Freeform 31"/>
            <p:cNvSpPr/>
            <p:nvPr/>
          </p:nvSpPr>
          <p:spPr>
            <a:xfrm>
              <a:off x="4890042" y="1658314"/>
              <a:ext cx="555212" cy="91440"/>
            </a:xfrm>
            <a:custGeom>
              <a:avLst/>
              <a:gdLst>
                <a:gd name="connsiteX0" fmla="*/ 0 w 555212"/>
                <a:gd name="connsiteY0" fmla="*/ 45720 h 91440"/>
                <a:gd name="connsiteX1" fmla="*/ 555212 w 555212"/>
                <a:gd name="connsiteY1" fmla="*/ 45720 h 91440"/>
              </a:gdLst>
              <a:ahLst/>
              <a:cxnLst>
                <a:cxn ang="0">
                  <a:pos x="connsiteX0" y="connsiteY0"/>
                </a:cxn>
                <a:cxn ang="0">
                  <a:pos x="connsiteX1" y="connsiteY1"/>
                </a:cxn>
              </a:cxnLst>
              <a:rect l="l" t="t" r="r" b="b"/>
              <a:pathLst>
                <a:path w="555212" h="91440">
                  <a:moveTo>
                    <a:pt x="0" y="45720"/>
                  </a:moveTo>
                  <a:lnTo>
                    <a:pt x="555212"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76426" tIns="31840" rIns="276426" bIns="31840" numCol="1" spcCol="1270" anchor="ctr" anchorCtr="0">
              <a:noAutofit/>
            </a:bodyPr>
            <a:lstStyle/>
            <a:p>
              <a:pPr lvl="0" algn="ctr" defTabSz="222250">
                <a:lnSpc>
                  <a:spcPct val="90000"/>
                </a:lnSpc>
                <a:spcBef>
                  <a:spcPct val="0"/>
                </a:spcBef>
                <a:spcAft>
                  <a:spcPct val="35000"/>
                </a:spcAft>
              </a:pPr>
              <a:endParaRPr lang="en-US" sz="500" kern="1200"/>
            </a:p>
          </p:txBody>
        </p:sp>
        <p:sp>
          <p:nvSpPr>
            <p:cNvPr id="33" name="Freeform 32"/>
            <p:cNvSpPr/>
            <p:nvPr/>
          </p:nvSpPr>
          <p:spPr>
            <a:xfrm>
              <a:off x="1558766" y="1704034"/>
              <a:ext cx="555212" cy="2115902"/>
            </a:xfrm>
            <a:custGeom>
              <a:avLst/>
              <a:gdLst>
                <a:gd name="connsiteX0" fmla="*/ 0 w 555212"/>
                <a:gd name="connsiteY0" fmla="*/ 2115902 h 2115902"/>
                <a:gd name="connsiteX1" fmla="*/ 277606 w 555212"/>
                <a:gd name="connsiteY1" fmla="*/ 2115902 h 2115902"/>
                <a:gd name="connsiteX2" fmla="*/ 277606 w 555212"/>
                <a:gd name="connsiteY2" fmla="*/ 0 h 2115902"/>
                <a:gd name="connsiteX3" fmla="*/ 555212 w 555212"/>
                <a:gd name="connsiteY3" fmla="*/ 0 h 2115902"/>
              </a:gdLst>
              <a:ahLst/>
              <a:cxnLst>
                <a:cxn ang="0">
                  <a:pos x="connsiteX0" y="connsiteY0"/>
                </a:cxn>
                <a:cxn ang="0">
                  <a:pos x="connsiteX1" y="connsiteY1"/>
                </a:cxn>
                <a:cxn ang="0">
                  <a:pos x="connsiteX2" y="connsiteY2"/>
                </a:cxn>
                <a:cxn ang="0">
                  <a:pos x="connsiteX3" y="connsiteY3"/>
                </a:cxn>
              </a:cxnLst>
              <a:rect l="l" t="t" r="r" b="b"/>
              <a:pathLst>
                <a:path w="555212" h="2115902">
                  <a:moveTo>
                    <a:pt x="0" y="2115902"/>
                  </a:moveTo>
                  <a:lnTo>
                    <a:pt x="277606" y="2115902"/>
                  </a:lnTo>
                  <a:lnTo>
                    <a:pt x="277606" y="0"/>
                  </a:lnTo>
                  <a:lnTo>
                    <a:pt x="555212" y="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5618" tIns="1003263" rIns="235618" bIns="1003263" numCol="1" spcCol="1270" anchor="ctr" anchorCtr="0">
              <a:noAutofit/>
            </a:bodyPr>
            <a:lstStyle/>
            <a:p>
              <a:pPr lvl="0" algn="ctr" defTabSz="311150">
                <a:lnSpc>
                  <a:spcPct val="90000"/>
                </a:lnSpc>
                <a:spcBef>
                  <a:spcPct val="0"/>
                </a:spcBef>
                <a:spcAft>
                  <a:spcPct val="35000"/>
                </a:spcAft>
              </a:pPr>
              <a:endParaRPr lang="en-US" sz="700" kern="1200"/>
            </a:p>
          </p:txBody>
        </p:sp>
        <p:sp>
          <p:nvSpPr>
            <p:cNvPr id="34" name="Freeform 33"/>
            <p:cNvSpPr/>
            <p:nvPr/>
          </p:nvSpPr>
          <p:spPr>
            <a:xfrm rot="16200000">
              <a:off x="-1091679" y="3396756"/>
              <a:ext cx="4454530" cy="846360"/>
            </a:xfrm>
            <a:custGeom>
              <a:avLst/>
              <a:gdLst>
                <a:gd name="connsiteX0" fmla="*/ 0 w 4454530"/>
                <a:gd name="connsiteY0" fmla="*/ 0 h 846360"/>
                <a:gd name="connsiteX1" fmla="*/ 4454530 w 4454530"/>
                <a:gd name="connsiteY1" fmla="*/ 0 h 846360"/>
                <a:gd name="connsiteX2" fmla="*/ 4454530 w 4454530"/>
                <a:gd name="connsiteY2" fmla="*/ 846360 h 846360"/>
                <a:gd name="connsiteX3" fmla="*/ 0 w 4454530"/>
                <a:gd name="connsiteY3" fmla="*/ 846360 h 846360"/>
                <a:gd name="connsiteX4" fmla="*/ 0 w 4454530"/>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4530" h="846360">
                  <a:moveTo>
                    <a:pt x="0" y="0"/>
                  </a:moveTo>
                  <a:lnTo>
                    <a:pt x="4454530" y="0"/>
                  </a:lnTo>
                  <a:lnTo>
                    <a:pt x="4454530"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925" tIns="34925" rIns="34925" bIns="34925" numCol="1" spcCol="1270" anchor="ctr" anchorCtr="0">
              <a:noAutofit/>
            </a:bodyPr>
            <a:lstStyle/>
            <a:p>
              <a:pPr lvl="0" algn="ctr" defTabSz="2444750">
                <a:lnSpc>
                  <a:spcPct val="90000"/>
                </a:lnSpc>
                <a:spcBef>
                  <a:spcPct val="0"/>
                </a:spcBef>
                <a:spcAft>
                  <a:spcPct val="35000"/>
                </a:spcAft>
              </a:pPr>
              <a:r>
                <a:rPr lang="en-US" sz="4000" kern="1200" dirty="0"/>
                <a:t>Compute</a:t>
              </a:r>
            </a:p>
          </p:txBody>
        </p:sp>
        <p:sp>
          <p:nvSpPr>
            <p:cNvPr id="35" name="Freeform 34"/>
            <p:cNvSpPr/>
            <p:nvPr/>
          </p:nvSpPr>
          <p:spPr>
            <a:xfrm>
              <a:off x="2113979" y="1280854"/>
              <a:ext cx="2776063" cy="846360"/>
            </a:xfrm>
            <a:custGeom>
              <a:avLst/>
              <a:gdLst>
                <a:gd name="connsiteX0" fmla="*/ 0 w 2776063"/>
                <a:gd name="connsiteY0" fmla="*/ 0 h 846360"/>
                <a:gd name="connsiteX1" fmla="*/ 2776063 w 2776063"/>
                <a:gd name="connsiteY1" fmla="*/ 0 h 846360"/>
                <a:gd name="connsiteX2" fmla="*/ 2776063 w 2776063"/>
                <a:gd name="connsiteY2" fmla="*/ 846360 h 846360"/>
                <a:gd name="connsiteX3" fmla="*/ 0 w 2776063"/>
                <a:gd name="connsiteY3" fmla="*/ 846360 h 846360"/>
                <a:gd name="connsiteX4" fmla="*/ 0 w 2776063"/>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6063" h="846360">
                  <a:moveTo>
                    <a:pt x="0" y="0"/>
                  </a:moveTo>
                  <a:lnTo>
                    <a:pt x="2776063" y="0"/>
                  </a:lnTo>
                  <a:lnTo>
                    <a:pt x="2776063"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2000" kern="1200" dirty="0"/>
                <a:t>Virtual Machine</a:t>
              </a:r>
            </a:p>
          </p:txBody>
        </p:sp>
        <p:sp>
          <p:nvSpPr>
            <p:cNvPr id="36" name="Freeform 35"/>
            <p:cNvSpPr/>
            <p:nvPr/>
          </p:nvSpPr>
          <p:spPr>
            <a:xfrm>
              <a:off x="5445255" y="1280854"/>
              <a:ext cx="6202794" cy="846360"/>
            </a:xfrm>
            <a:custGeom>
              <a:avLst/>
              <a:gdLst>
                <a:gd name="connsiteX0" fmla="*/ 0 w 2776063"/>
                <a:gd name="connsiteY0" fmla="*/ 0 h 846360"/>
                <a:gd name="connsiteX1" fmla="*/ 2776063 w 2776063"/>
                <a:gd name="connsiteY1" fmla="*/ 0 h 846360"/>
                <a:gd name="connsiteX2" fmla="*/ 2776063 w 2776063"/>
                <a:gd name="connsiteY2" fmla="*/ 846360 h 846360"/>
                <a:gd name="connsiteX3" fmla="*/ 0 w 2776063"/>
                <a:gd name="connsiteY3" fmla="*/ 846360 h 846360"/>
                <a:gd name="connsiteX4" fmla="*/ 0 w 2776063"/>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6063" h="846360">
                  <a:moveTo>
                    <a:pt x="0" y="0"/>
                  </a:moveTo>
                  <a:lnTo>
                    <a:pt x="2776063" y="0"/>
                  </a:lnTo>
                  <a:lnTo>
                    <a:pt x="2776063"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just" defTabSz="622300">
                <a:lnSpc>
                  <a:spcPct val="90000"/>
                </a:lnSpc>
                <a:spcBef>
                  <a:spcPct val="0"/>
                </a:spcBef>
                <a:spcAft>
                  <a:spcPct val="35000"/>
                </a:spcAft>
              </a:pPr>
              <a:r>
                <a:rPr lang="en-US" sz="1500" kern="1200" dirty="0"/>
                <a:t>Is a IaaS offering from Azure with that we can create servers using in-built or own images</a:t>
              </a:r>
            </a:p>
          </p:txBody>
        </p:sp>
        <p:sp>
          <p:nvSpPr>
            <p:cNvPr id="37" name="Freeform 36"/>
            <p:cNvSpPr/>
            <p:nvPr/>
          </p:nvSpPr>
          <p:spPr>
            <a:xfrm>
              <a:off x="2113979" y="2338805"/>
              <a:ext cx="2776063" cy="846360"/>
            </a:xfrm>
            <a:custGeom>
              <a:avLst/>
              <a:gdLst>
                <a:gd name="connsiteX0" fmla="*/ 0 w 2776063"/>
                <a:gd name="connsiteY0" fmla="*/ 0 h 846360"/>
                <a:gd name="connsiteX1" fmla="*/ 2776063 w 2776063"/>
                <a:gd name="connsiteY1" fmla="*/ 0 h 846360"/>
                <a:gd name="connsiteX2" fmla="*/ 2776063 w 2776063"/>
                <a:gd name="connsiteY2" fmla="*/ 846360 h 846360"/>
                <a:gd name="connsiteX3" fmla="*/ 0 w 2776063"/>
                <a:gd name="connsiteY3" fmla="*/ 846360 h 846360"/>
                <a:gd name="connsiteX4" fmla="*/ 0 w 2776063"/>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6063" h="846360">
                  <a:moveTo>
                    <a:pt x="0" y="0"/>
                  </a:moveTo>
                  <a:lnTo>
                    <a:pt x="2776063" y="0"/>
                  </a:lnTo>
                  <a:lnTo>
                    <a:pt x="2776063"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2000" kern="1200" dirty="0"/>
                <a:t>Cloud Service</a:t>
              </a:r>
            </a:p>
          </p:txBody>
        </p:sp>
        <p:sp>
          <p:nvSpPr>
            <p:cNvPr id="38" name="Freeform 37"/>
            <p:cNvSpPr/>
            <p:nvPr/>
          </p:nvSpPr>
          <p:spPr>
            <a:xfrm>
              <a:off x="5445255" y="2338805"/>
              <a:ext cx="6202794" cy="846360"/>
            </a:xfrm>
            <a:custGeom>
              <a:avLst/>
              <a:gdLst>
                <a:gd name="connsiteX0" fmla="*/ 0 w 2776063"/>
                <a:gd name="connsiteY0" fmla="*/ 0 h 846360"/>
                <a:gd name="connsiteX1" fmla="*/ 2776063 w 2776063"/>
                <a:gd name="connsiteY1" fmla="*/ 0 h 846360"/>
                <a:gd name="connsiteX2" fmla="*/ 2776063 w 2776063"/>
                <a:gd name="connsiteY2" fmla="*/ 846360 h 846360"/>
                <a:gd name="connsiteX3" fmla="*/ 0 w 2776063"/>
                <a:gd name="connsiteY3" fmla="*/ 846360 h 846360"/>
                <a:gd name="connsiteX4" fmla="*/ 0 w 2776063"/>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6063" h="846360">
                  <a:moveTo>
                    <a:pt x="0" y="0"/>
                  </a:moveTo>
                  <a:lnTo>
                    <a:pt x="2776063" y="0"/>
                  </a:lnTo>
                  <a:lnTo>
                    <a:pt x="2776063"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just" defTabSz="622300">
                <a:lnSpc>
                  <a:spcPct val="90000"/>
                </a:lnSpc>
                <a:spcBef>
                  <a:spcPct val="0"/>
                </a:spcBef>
                <a:spcAft>
                  <a:spcPct val="35000"/>
                </a:spcAft>
              </a:pPr>
              <a:r>
                <a:rPr lang="en-US" sz="1500" kern="1200" dirty="0"/>
                <a:t>Classical way of deploying application along with the infrastructure</a:t>
              </a:r>
            </a:p>
          </p:txBody>
        </p:sp>
        <p:sp>
          <p:nvSpPr>
            <p:cNvPr id="39" name="Freeform 38"/>
            <p:cNvSpPr/>
            <p:nvPr/>
          </p:nvSpPr>
          <p:spPr>
            <a:xfrm>
              <a:off x="2113979" y="3396756"/>
              <a:ext cx="2776063" cy="846360"/>
            </a:xfrm>
            <a:custGeom>
              <a:avLst/>
              <a:gdLst>
                <a:gd name="connsiteX0" fmla="*/ 0 w 2776063"/>
                <a:gd name="connsiteY0" fmla="*/ 0 h 846360"/>
                <a:gd name="connsiteX1" fmla="*/ 2776063 w 2776063"/>
                <a:gd name="connsiteY1" fmla="*/ 0 h 846360"/>
                <a:gd name="connsiteX2" fmla="*/ 2776063 w 2776063"/>
                <a:gd name="connsiteY2" fmla="*/ 846360 h 846360"/>
                <a:gd name="connsiteX3" fmla="*/ 0 w 2776063"/>
                <a:gd name="connsiteY3" fmla="*/ 846360 h 846360"/>
                <a:gd name="connsiteX4" fmla="*/ 0 w 2776063"/>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6063" h="846360">
                  <a:moveTo>
                    <a:pt x="0" y="0"/>
                  </a:moveTo>
                  <a:lnTo>
                    <a:pt x="2776063" y="0"/>
                  </a:lnTo>
                  <a:lnTo>
                    <a:pt x="2776063"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2000" kern="1200" dirty="0"/>
                <a:t>Service Fabric</a:t>
              </a:r>
            </a:p>
          </p:txBody>
        </p:sp>
        <p:sp>
          <p:nvSpPr>
            <p:cNvPr id="40" name="Freeform 39"/>
            <p:cNvSpPr/>
            <p:nvPr/>
          </p:nvSpPr>
          <p:spPr>
            <a:xfrm>
              <a:off x="5445255" y="3396756"/>
              <a:ext cx="6202794" cy="846360"/>
            </a:xfrm>
            <a:custGeom>
              <a:avLst/>
              <a:gdLst>
                <a:gd name="connsiteX0" fmla="*/ 0 w 2776063"/>
                <a:gd name="connsiteY0" fmla="*/ 0 h 846360"/>
                <a:gd name="connsiteX1" fmla="*/ 2776063 w 2776063"/>
                <a:gd name="connsiteY1" fmla="*/ 0 h 846360"/>
                <a:gd name="connsiteX2" fmla="*/ 2776063 w 2776063"/>
                <a:gd name="connsiteY2" fmla="*/ 846360 h 846360"/>
                <a:gd name="connsiteX3" fmla="*/ 0 w 2776063"/>
                <a:gd name="connsiteY3" fmla="*/ 846360 h 846360"/>
                <a:gd name="connsiteX4" fmla="*/ 0 w 2776063"/>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6063" h="846360">
                  <a:moveTo>
                    <a:pt x="0" y="0"/>
                  </a:moveTo>
                  <a:lnTo>
                    <a:pt x="2776063" y="0"/>
                  </a:lnTo>
                  <a:lnTo>
                    <a:pt x="2776063"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just" defTabSz="622300">
                <a:lnSpc>
                  <a:spcPct val="90000"/>
                </a:lnSpc>
                <a:spcBef>
                  <a:spcPct val="0"/>
                </a:spcBef>
                <a:spcAft>
                  <a:spcPct val="35000"/>
                </a:spcAft>
              </a:pPr>
              <a:r>
                <a:rPr lang="en-US" sz="1500" kern="1200" dirty="0"/>
                <a:t>Develop microservices and orchestrate containers on Windows or Linux</a:t>
              </a:r>
            </a:p>
          </p:txBody>
        </p:sp>
        <p:sp>
          <p:nvSpPr>
            <p:cNvPr id="41" name="Freeform 40"/>
            <p:cNvSpPr/>
            <p:nvPr/>
          </p:nvSpPr>
          <p:spPr>
            <a:xfrm>
              <a:off x="2113979" y="4454707"/>
              <a:ext cx="2776063" cy="846360"/>
            </a:xfrm>
            <a:custGeom>
              <a:avLst/>
              <a:gdLst>
                <a:gd name="connsiteX0" fmla="*/ 0 w 2776063"/>
                <a:gd name="connsiteY0" fmla="*/ 0 h 846360"/>
                <a:gd name="connsiteX1" fmla="*/ 2776063 w 2776063"/>
                <a:gd name="connsiteY1" fmla="*/ 0 h 846360"/>
                <a:gd name="connsiteX2" fmla="*/ 2776063 w 2776063"/>
                <a:gd name="connsiteY2" fmla="*/ 846360 h 846360"/>
                <a:gd name="connsiteX3" fmla="*/ 0 w 2776063"/>
                <a:gd name="connsiteY3" fmla="*/ 846360 h 846360"/>
                <a:gd name="connsiteX4" fmla="*/ 0 w 2776063"/>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6063" h="846360">
                  <a:moveTo>
                    <a:pt x="0" y="0"/>
                  </a:moveTo>
                  <a:lnTo>
                    <a:pt x="2776063" y="0"/>
                  </a:lnTo>
                  <a:lnTo>
                    <a:pt x="2776063"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2000" kern="1200" dirty="0"/>
                <a:t>Container Instances</a:t>
              </a:r>
            </a:p>
          </p:txBody>
        </p:sp>
        <p:sp>
          <p:nvSpPr>
            <p:cNvPr id="42" name="Freeform 41"/>
            <p:cNvSpPr/>
            <p:nvPr/>
          </p:nvSpPr>
          <p:spPr>
            <a:xfrm>
              <a:off x="5445255" y="4454707"/>
              <a:ext cx="6202794" cy="846360"/>
            </a:xfrm>
            <a:custGeom>
              <a:avLst/>
              <a:gdLst>
                <a:gd name="connsiteX0" fmla="*/ 0 w 2776063"/>
                <a:gd name="connsiteY0" fmla="*/ 0 h 846360"/>
                <a:gd name="connsiteX1" fmla="*/ 2776063 w 2776063"/>
                <a:gd name="connsiteY1" fmla="*/ 0 h 846360"/>
                <a:gd name="connsiteX2" fmla="*/ 2776063 w 2776063"/>
                <a:gd name="connsiteY2" fmla="*/ 846360 h 846360"/>
                <a:gd name="connsiteX3" fmla="*/ 0 w 2776063"/>
                <a:gd name="connsiteY3" fmla="*/ 846360 h 846360"/>
                <a:gd name="connsiteX4" fmla="*/ 0 w 2776063"/>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6063" h="846360">
                  <a:moveTo>
                    <a:pt x="0" y="0"/>
                  </a:moveTo>
                  <a:lnTo>
                    <a:pt x="2776063" y="0"/>
                  </a:lnTo>
                  <a:lnTo>
                    <a:pt x="2776063"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just" defTabSz="622300">
                <a:lnSpc>
                  <a:spcPct val="90000"/>
                </a:lnSpc>
                <a:spcBef>
                  <a:spcPct val="0"/>
                </a:spcBef>
                <a:spcAft>
                  <a:spcPct val="35000"/>
                </a:spcAft>
              </a:pPr>
              <a:r>
                <a:rPr lang="en-US" sz="1500" kern="1200" dirty="0"/>
                <a:t>Easily runs container in a single command</a:t>
              </a:r>
            </a:p>
          </p:txBody>
        </p:sp>
        <p:sp>
          <p:nvSpPr>
            <p:cNvPr id="43" name="Freeform 42"/>
            <p:cNvSpPr/>
            <p:nvPr/>
          </p:nvSpPr>
          <p:spPr>
            <a:xfrm>
              <a:off x="2113979" y="5512658"/>
              <a:ext cx="2776063" cy="846360"/>
            </a:xfrm>
            <a:custGeom>
              <a:avLst/>
              <a:gdLst>
                <a:gd name="connsiteX0" fmla="*/ 0 w 2776063"/>
                <a:gd name="connsiteY0" fmla="*/ 0 h 846360"/>
                <a:gd name="connsiteX1" fmla="*/ 2776063 w 2776063"/>
                <a:gd name="connsiteY1" fmla="*/ 0 h 846360"/>
                <a:gd name="connsiteX2" fmla="*/ 2776063 w 2776063"/>
                <a:gd name="connsiteY2" fmla="*/ 846360 h 846360"/>
                <a:gd name="connsiteX3" fmla="*/ 0 w 2776063"/>
                <a:gd name="connsiteY3" fmla="*/ 846360 h 846360"/>
                <a:gd name="connsiteX4" fmla="*/ 0 w 2776063"/>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6063" h="846360">
                  <a:moveTo>
                    <a:pt x="0" y="0"/>
                  </a:moveTo>
                  <a:lnTo>
                    <a:pt x="2776063" y="0"/>
                  </a:lnTo>
                  <a:lnTo>
                    <a:pt x="2776063"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2000" kern="1200" dirty="0"/>
                <a:t>Functions</a:t>
              </a:r>
            </a:p>
          </p:txBody>
        </p:sp>
        <p:sp>
          <p:nvSpPr>
            <p:cNvPr id="44" name="Freeform 43"/>
            <p:cNvSpPr/>
            <p:nvPr/>
          </p:nvSpPr>
          <p:spPr>
            <a:xfrm>
              <a:off x="5445255" y="5512658"/>
              <a:ext cx="6202794" cy="846360"/>
            </a:xfrm>
            <a:custGeom>
              <a:avLst/>
              <a:gdLst>
                <a:gd name="connsiteX0" fmla="*/ 0 w 2776063"/>
                <a:gd name="connsiteY0" fmla="*/ 0 h 846360"/>
                <a:gd name="connsiteX1" fmla="*/ 2776063 w 2776063"/>
                <a:gd name="connsiteY1" fmla="*/ 0 h 846360"/>
                <a:gd name="connsiteX2" fmla="*/ 2776063 w 2776063"/>
                <a:gd name="connsiteY2" fmla="*/ 846360 h 846360"/>
                <a:gd name="connsiteX3" fmla="*/ 0 w 2776063"/>
                <a:gd name="connsiteY3" fmla="*/ 846360 h 846360"/>
                <a:gd name="connsiteX4" fmla="*/ 0 w 2776063"/>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6063" h="846360">
                  <a:moveTo>
                    <a:pt x="0" y="0"/>
                  </a:moveTo>
                  <a:lnTo>
                    <a:pt x="2776063" y="0"/>
                  </a:lnTo>
                  <a:lnTo>
                    <a:pt x="2776063"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just" defTabSz="622300">
                <a:lnSpc>
                  <a:spcPct val="90000"/>
                </a:lnSpc>
                <a:spcBef>
                  <a:spcPct val="0"/>
                </a:spcBef>
                <a:spcAft>
                  <a:spcPct val="35000"/>
                </a:spcAft>
              </a:pPr>
              <a:r>
                <a:rPr lang="en-US" sz="1500" kern="1200" dirty="0"/>
                <a:t>Process events with serverless code</a:t>
              </a:r>
            </a:p>
          </p:txBody>
        </p:sp>
      </p:grpSp>
    </p:spTree>
    <p:extLst>
      <p:ext uri="{BB962C8B-B14F-4D97-AF65-F5344CB8AC3E}">
        <p14:creationId xmlns:p14="http://schemas.microsoft.com/office/powerpoint/2010/main" val="30856978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327257"/>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Azure Databases</a:t>
            </a:r>
          </a:p>
        </p:txBody>
      </p:sp>
      <p:sp>
        <p:nvSpPr>
          <p:cNvPr id="3" name="AutoShape 4" descr="Image result for Microsoft Azure">
            <a:extLst>
              <a:ext uri="{FF2B5EF4-FFF2-40B4-BE49-F238E27FC236}">
                <a16:creationId xmlns:a16="http://schemas.microsoft.com/office/drawing/2014/main" id="{22936C06-2E22-482B-9048-FF93A278CC2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5" name="Group 4"/>
          <p:cNvGrpSpPr/>
          <p:nvPr/>
        </p:nvGrpSpPr>
        <p:grpSpPr>
          <a:xfrm>
            <a:off x="924643" y="1281443"/>
            <a:ext cx="10647513" cy="5076987"/>
            <a:chOff x="1056806" y="1281443"/>
            <a:chExt cx="10647513" cy="5076987"/>
          </a:xfrm>
        </p:grpSpPr>
        <p:sp>
          <p:nvSpPr>
            <p:cNvPr id="6" name="Freeform 5"/>
            <p:cNvSpPr/>
            <p:nvPr/>
          </p:nvSpPr>
          <p:spPr>
            <a:xfrm>
              <a:off x="5176910" y="5962573"/>
              <a:ext cx="459379" cy="91440"/>
            </a:xfrm>
            <a:custGeom>
              <a:avLst/>
              <a:gdLst>
                <a:gd name="connsiteX0" fmla="*/ 0 w 459379"/>
                <a:gd name="connsiteY0" fmla="*/ 45720 h 91440"/>
                <a:gd name="connsiteX1" fmla="*/ 459379 w 459379"/>
                <a:gd name="connsiteY1" fmla="*/ 45720 h 91440"/>
              </a:gdLst>
              <a:ahLst/>
              <a:cxnLst>
                <a:cxn ang="0">
                  <a:pos x="connsiteX0" y="connsiteY0"/>
                </a:cxn>
                <a:cxn ang="0">
                  <a:pos x="connsiteX1" y="connsiteY1"/>
                </a:cxn>
              </a:cxnLst>
              <a:rect l="l" t="t" r="r" b="b"/>
              <a:pathLst>
                <a:path w="459379" h="91440">
                  <a:moveTo>
                    <a:pt x="0" y="45720"/>
                  </a:moveTo>
                  <a:lnTo>
                    <a:pt x="459379"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0905" tIns="34235" rIns="230906" bIns="34237" numCol="1" spcCol="1270" anchor="ctr" anchorCtr="0">
              <a:noAutofit/>
            </a:bodyPr>
            <a:lstStyle/>
            <a:p>
              <a:pPr lvl="0" algn="ctr" defTabSz="222250">
                <a:lnSpc>
                  <a:spcPct val="90000"/>
                </a:lnSpc>
                <a:spcBef>
                  <a:spcPct val="0"/>
                </a:spcBef>
                <a:spcAft>
                  <a:spcPct val="35000"/>
                </a:spcAft>
              </a:pPr>
              <a:endParaRPr lang="en-US" sz="500" kern="1200"/>
            </a:p>
          </p:txBody>
        </p:sp>
        <p:sp>
          <p:nvSpPr>
            <p:cNvPr id="7" name="Freeform 6"/>
            <p:cNvSpPr/>
            <p:nvPr/>
          </p:nvSpPr>
          <p:spPr>
            <a:xfrm>
              <a:off x="1757080" y="3819937"/>
              <a:ext cx="459379" cy="2188356"/>
            </a:xfrm>
            <a:custGeom>
              <a:avLst/>
              <a:gdLst>
                <a:gd name="connsiteX0" fmla="*/ 0 w 459379"/>
                <a:gd name="connsiteY0" fmla="*/ 0 h 2188356"/>
                <a:gd name="connsiteX1" fmla="*/ 229689 w 459379"/>
                <a:gd name="connsiteY1" fmla="*/ 0 h 2188356"/>
                <a:gd name="connsiteX2" fmla="*/ 229689 w 459379"/>
                <a:gd name="connsiteY2" fmla="*/ 2188356 h 2188356"/>
                <a:gd name="connsiteX3" fmla="*/ 459379 w 459379"/>
                <a:gd name="connsiteY3" fmla="*/ 2188356 h 2188356"/>
              </a:gdLst>
              <a:ahLst/>
              <a:cxnLst>
                <a:cxn ang="0">
                  <a:pos x="connsiteX0" y="connsiteY0"/>
                </a:cxn>
                <a:cxn ang="0">
                  <a:pos x="connsiteX1" y="connsiteY1"/>
                </a:cxn>
                <a:cxn ang="0">
                  <a:pos x="connsiteX2" y="connsiteY2"/>
                </a:cxn>
                <a:cxn ang="0">
                  <a:pos x="connsiteX3" y="connsiteY3"/>
                </a:cxn>
              </a:cxnLst>
              <a:rect l="l" t="t" r="r" b="b"/>
              <a:pathLst>
                <a:path w="459379" h="2188356">
                  <a:moveTo>
                    <a:pt x="0" y="0"/>
                  </a:moveTo>
                  <a:lnTo>
                    <a:pt x="229689" y="0"/>
                  </a:lnTo>
                  <a:lnTo>
                    <a:pt x="229689" y="2188356"/>
                  </a:lnTo>
                  <a:lnTo>
                    <a:pt x="459379" y="2188356"/>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186488" tIns="1038276" rIns="186489" bIns="1038278" numCol="1" spcCol="1270" anchor="ctr" anchorCtr="0">
              <a:noAutofit/>
            </a:bodyPr>
            <a:lstStyle/>
            <a:p>
              <a:pPr lvl="0" algn="ctr" defTabSz="355600">
                <a:lnSpc>
                  <a:spcPct val="90000"/>
                </a:lnSpc>
                <a:spcBef>
                  <a:spcPct val="0"/>
                </a:spcBef>
                <a:spcAft>
                  <a:spcPct val="35000"/>
                </a:spcAft>
              </a:pPr>
              <a:endParaRPr lang="en-US" sz="800" kern="1200"/>
            </a:p>
          </p:txBody>
        </p:sp>
        <p:sp>
          <p:nvSpPr>
            <p:cNvPr id="8" name="Freeform 7"/>
            <p:cNvSpPr/>
            <p:nvPr/>
          </p:nvSpPr>
          <p:spPr>
            <a:xfrm>
              <a:off x="5176910" y="5087230"/>
              <a:ext cx="459379" cy="91440"/>
            </a:xfrm>
            <a:custGeom>
              <a:avLst/>
              <a:gdLst>
                <a:gd name="connsiteX0" fmla="*/ 0 w 459379"/>
                <a:gd name="connsiteY0" fmla="*/ 45720 h 91440"/>
                <a:gd name="connsiteX1" fmla="*/ 459379 w 459379"/>
                <a:gd name="connsiteY1" fmla="*/ 45720 h 91440"/>
              </a:gdLst>
              <a:ahLst/>
              <a:cxnLst>
                <a:cxn ang="0">
                  <a:pos x="connsiteX0" y="connsiteY0"/>
                </a:cxn>
                <a:cxn ang="0">
                  <a:pos x="connsiteX1" y="connsiteY1"/>
                </a:cxn>
              </a:cxnLst>
              <a:rect l="l" t="t" r="r" b="b"/>
              <a:pathLst>
                <a:path w="459379" h="91440">
                  <a:moveTo>
                    <a:pt x="0" y="45720"/>
                  </a:moveTo>
                  <a:lnTo>
                    <a:pt x="459379"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0905" tIns="34236" rIns="230906" bIns="34236" numCol="1" spcCol="1270" anchor="ctr" anchorCtr="0">
              <a:noAutofit/>
            </a:bodyPr>
            <a:lstStyle/>
            <a:p>
              <a:pPr lvl="0" algn="ctr" defTabSz="222250">
                <a:lnSpc>
                  <a:spcPct val="90000"/>
                </a:lnSpc>
                <a:spcBef>
                  <a:spcPct val="0"/>
                </a:spcBef>
                <a:spcAft>
                  <a:spcPct val="35000"/>
                </a:spcAft>
              </a:pPr>
              <a:endParaRPr lang="en-US" sz="500" kern="1200"/>
            </a:p>
          </p:txBody>
        </p:sp>
        <p:sp>
          <p:nvSpPr>
            <p:cNvPr id="9" name="Freeform 8"/>
            <p:cNvSpPr/>
            <p:nvPr/>
          </p:nvSpPr>
          <p:spPr>
            <a:xfrm>
              <a:off x="1757080" y="3819937"/>
              <a:ext cx="459379" cy="1313013"/>
            </a:xfrm>
            <a:custGeom>
              <a:avLst/>
              <a:gdLst>
                <a:gd name="connsiteX0" fmla="*/ 0 w 459379"/>
                <a:gd name="connsiteY0" fmla="*/ 0 h 1313013"/>
                <a:gd name="connsiteX1" fmla="*/ 229689 w 459379"/>
                <a:gd name="connsiteY1" fmla="*/ 0 h 1313013"/>
                <a:gd name="connsiteX2" fmla="*/ 229689 w 459379"/>
                <a:gd name="connsiteY2" fmla="*/ 1313013 h 1313013"/>
                <a:gd name="connsiteX3" fmla="*/ 459379 w 459379"/>
                <a:gd name="connsiteY3" fmla="*/ 1313013 h 1313013"/>
              </a:gdLst>
              <a:ahLst/>
              <a:cxnLst>
                <a:cxn ang="0">
                  <a:pos x="connsiteX0" y="connsiteY0"/>
                </a:cxn>
                <a:cxn ang="0">
                  <a:pos x="connsiteX1" y="connsiteY1"/>
                </a:cxn>
                <a:cxn ang="0">
                  <a:pos x="connsiteX2" y="connsiteY2"/>
                </a:cxn>
                <a:cxn ang="0">
                  <a:pos x="connsiteX3" y="connsiteY3"/>
                </a:cxn>
              </a:cxnLst>
              <a:rect l="l" t="t" r="r" b="b"/>
              <a:pathLst>
                <a:path w="459379" h="1313013">
                  <a:moveTo>
                    <a:pt x="0" y="0"/>
                  </a:moveTo>
                  <a:lnTo>
                    <a:pt x="229689" y="0"/>
                  </a:lnTo>
                  <a:lnTo>
                    <a:pt x="229689" y="1313013"/>
                  </a:lnTo>
                  <a:lnTo>
                    <a:pt x="459379" y="1313013"/>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07613" tIns="621730" rIns="207614" bIns="621731" numCol="1" spcCol="1270" anchor="ctr" anchorCtr="0">
              <a:noAutofit/>
            </a:bodyPr>
            <a:lstStyle/>
            <a:p>
              <a:pPr lvl="0" algn="ctr" defTabSz="222250">
                <a:lnSpc>
                  <a:spcPct val="90000"/>
                </a:lnSpc>
                <a:spcBef>
                  <a:spcPct val="0"/>
                </a:spcBef>
                <a:spcAft>
                  <a:spcPct val="35000"/>
                </a:spcAft>
              </a:pPr>
              <a:endParaRPr lang="en-US" sz="500" kern="1200"/>
            </a:p>
          </p:txBody>
        </p:sp>
        <p:sp>
          <p:nvSpPr>
            <p:cNvPr id="10" name="Freeform 9"/>
            <p:cNvSpPr/>
            <p:nvPr/>
          </p:nvSpPr>
          <p:spPr>
            <a:xfrm>
              <a:off x="5176910" y="4211888"/>
              <a:ext cx="459379" cy="91440"/>
            </a:xfrm>
            <a:custGeom>
              <a:avLst/>
              <a:gdLst>
                <a:gd name="connsiteX0" fmla="*/ 0 w 459379"/>
                <a:gd name="connsiteY0" fmla="*/ 45720 h 91440"/>
                <a:gd name="connsiteX1" fmla="*/ 459379 w 459379"/>
                <a:gd name="connsiteY1" fmla="*/ 45720 h 91440"/>
              </a:gdLst>
              <a:ahLst/>
              <a:cxnLst>
                <a:cxn ang="0">
                  <a:pos x="connsiteX0" y="connsiteY0"/>
                </a:cxn>
                <a:cxn ang="0">
                  <a:pos x="connsiteX1" y="connsiteY1"/>
                </a:cxn>
              </a:cxnLst>
              <a:rect l="l" t="t" r="r" b="b"/>
              <a:pathLst>
                <a:path w="459379" h="91440">
                  <a:moveTo>
                    <a:pt x="0" y="45720"/>
                  </a:moveTo>
                  <a:lnTo>
                    <a:pt x="459379"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0905" tIns="34235" rIns="230906" bIns="34237" numCol="1" spcCol="1270" anchor="ctr" anchorCtr="0">
              <a:noAutofit/>
            </a:bodyPr>
            <a:lstStyle/>
            <a:p>
              <a:pPr lvl="0" algn="ctr" defTabSz="222250">
                <a:lnSpc>
                  <a:spcPct val="90000"/>
                </a:lnSpc>
                <a:spcBef>
                  <a:spcPct val="0"/>
                </a:spcBef>
                <a:spcAft>
                  <a:spcPct val="35000"/>
                </a:spcAft>
              </a:pPr>
              <a:endParaRPr lang="en-US" sz="500" kern="1200"/>
            </a:p>
          </p:txBody>
        </p:sp>
        <p:sp>
          <p:nvSpPr>
            <p:cNvPr id="11" name="Freeform 10"/>
            <p:cNvSpPr/>
            <p:nvPr/>
          </p:nvSpPr>
          <p:spPr>
            <a:xfrm>
              <a:off x="1757080" y="3819937"/>
              <a:ext cx="459379" cy="437671"/>
            </a:xfrm>
            <a:custGeom>
              <a:avLst/>
              <a:gdLst>
                <a:gd name="connsiteX0" fmla="*/ 0 w 459379"/>
                <a:gd name="connsiteY0" fmla="*/ 0 h 437671"/>
                <a:gd name="connsiteX1" fmla="*/ 229689 w 459379"/>
                <a:gd name="connsiteY1" fmla="*/ 0 h 437671"/>
                <a:gd name="connsiteX2" fmla="*/ 229689 w 459379"/>
                <a:gd name="connsiteY2" fmla="*/ 437671 h 437671"/>
                <a:gd name="connsiteX3" fmla="*/ 459379 w 459379"/>
                <a:gd name="connsiteY3" fmla="*/ 437671 h 437671"/>
              </a:gdLst>
              <a:ahLst/>
              <a:cxnLst>
                <a:cxn ang="0">
                  <a:pos x="connsiteX0" y="connsiteY0"/>
                </a:cxn>
                <a:cxn ang="0">
                  <a:pos x="connsiteX1" y="connsiteY1"/>
                </a:cxn>
                <a:cxn ang="0">
                  <a:pos x="connsiteX2" y="connsiteY2"/>
                </a:cxn>
                <a:cxn ang="0">
                  <a:pos x="connsiteX3" y="connsiteY3"/>
                </a:cxn>
              </a:cxnLst>
              <a:rect l="l" t="t" r="r" b="b"/>
              <a:pathLst>
                <a:path w="459379" h="437671">
                  <a:moveTo>
                    <a:pt x="0" y="0"/>
                  </a:moveTo>
                  <a:lnTo>
                    <a:pt x="229689" y="0"/>
                  </a:lnTo>
                  <a:lnTo>
                    <a:pt x="229689" y="437671"/>
                  </a:lnTo>
                  <a:lnTo>
                    <a:pt x="459379" y="437671"/>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26527" tIns="202973" rIns="226528" bIns="202974" numCol="1" spcCol="1270" anchor="ctr" anchorCtr="0">
              <a:noAutofit/>
            </a:bodyPr>
            <a:lstStyle/>
            <a:p>
              <a:pPr lvl="0" algn="ctr" defTabSz="222250">
                <a:lnSpc>
                  <a:spcPct val="90000"/>
                </a:lnSpc>
                <a:spcBef>
                  <a:spcPct val="0"/>
                </a:spcBef>
                <a:spcAft>
                  <a:spcPct val="35000"/>
                </a:spcAft>
              </a:pPr>
              <a:endParaRPr lang="en-US" sz="500" kern="1200"/>
            </a:p>
          </p:txBody>
        </p:sp>
        <p:sp>
          <p:nvSpPr>
            <p:cNvPr id="12" name="Freeform 11"/>
            <p:cNvSpPr/>
            <p:nvPr/>
          </p:nvSpPr>
          <p:spPr>
            <a:xfrm>
              <a:off x="5176910" y="3336545"/>
              <a:ext cx="459379" cy="91440"/>
            </a:xfrm>
            <a:custGeom>
              <a:avLst/>
              <a:gdLst>
                <a:gd name="connsiteX0" fmla="*/ 0 w 459379"/>
                <a:gd name="connsiteY0" fmla="*/ 45720 h 91440"/>
                <a:gd name="connsiteX1" fmla="*/ 459379 w 459379"/>
                <a:gd name="connsiteY1" fmla="*/ 45720 h 91440"/>
              </a:gdLst>
              <a:ahLst/>
              <a:cxnLst>
                <a:cxn ang="0">
                  <a:pos x="connsiteX0" y="connsiteY0"/>
                </a:cxn>
                <a:cxn ang="0">
                  <a:pos x="connsiteX1" y="connsiteY1"/>
                </a:cxn>
              </a:cxnLst>
              <a:rect l="l" t="t" r="r" b="b"/>
              <a:pathLst>
                <a:path w="459379" h="91440">
                  <a:moveTo>
                    <a:pt x="0" y="45720"/>
                  </a:moveTo>
                  <a:lnTo>
                    <a:pt x="459379"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0905" tIns="34236" rIns="230906" bIns="34236" numCol="1" spcCol="1270" anchor="ctr" anchorCtr="0">
              <a:noAutofit/>
            </a:bodyPr>
            <a:lstStyle/>
            <a:p>
              <a:pPr lvl="0" algn="ctr" defTabSz="222250">
                <a:lnSpc>
                  <a:spcPct val="90000"/>
                </a:lnSpc>
                <a:spcBef>
                  <a:spcPct val="0"/>
                </a:spcBef>
                <a:spcAft>
                  <a:spcPct val="35000"/>
                </a:spcAft>
              </a:pPr>
              <a:endParaRPr lang="en-US" sz="500" kern="1200"/>
            </a:p>
          </p:txBody>
        </p:sp>
        <p:sp>
          <p:nvSpPr>
            <p:cNvPr id="13" name="Freeform 12"/>
            <p:cNvSpPr/>
            <p:nvPr/>
          </p:nvSpPr>
          <p:spPr>
            <a:xfrm>
              <a:off x="1757080" y="3382265"/>
              <a:ext cx="459379" cy="437671"/>
            </a:xfrm>
            <a:custGeom>
              <a:avLst/>
              <a:gdLst>
                <a:gd name="connsiteX0" fmla="*/ 0 w 459379"/>
                <a:gd name="connsiteY0" fmla="*/ 437671 h 437671"/>
                <a:gd name="connsiteX1" fmla="*/ 229689 w 459379"/>
                <a:gd name="connsiteY1" fmla="*/ 437671 h 437671"/>
                <a:gd name="connsiteX2" fmla="*/ 229689 w 459379"/>
                <a:gd name="connsiteY2" fmla="*/ 0 h 437671"/>
                <a:gd name="connsiteX3" fmla="*/ 459379 w 459379"/>
                <a:gd name="connsiteY3" fmla="*/ 0 h 437671"/>
              </a:gdLst>
              <a:ahLst/>
              <a:cxnLst>
                <a:cxn ang="0">
                  <a:pos x="connsiteX0" y="connsiteY0"/>
                </a:cxn>
                <a:cxn ang="0">
                  <a:pos x="connsiteX1" y="connsiteY1"/>
                </a:cxn>
                <a:cxn ang="0">
                  <a:pos x="connsiteX2" y="connsiteY2"/>
                </a:cxn>
                <a:cxn ang="0">
                  <a:pos x="connsiteX3" y="connsiteY3"/>
                </a:cxn>
              </a:cxnLst>
              <a:rect l="l" t="t" r="r" b="b"/>
              <a:pathLst>
                <a:path w="459379" h="437671">
                  <a:moveTo>
                    <a:pt x="0" y="437671"/>
                  </a:moveTo>
                  <a:lnTo>
                    <a:pt x="229689" y="437671"/>
                  </a:lnTo>
                  <a:lnTo>
                    <a:pt x="229689" y="0"/>
                  </a:lnTo>
                  <a:lnTo>
                    <a:pt x="459379" y="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26527" tIns="202973" rIns="226528" bIns="202974" numCol="1" spcCol="1270" anchor="ctr" anchorCtr="0">
              <a:noAutofit/>
            </a:bodyPr>
            <a:lstStyle/>
            <a:p>
              <a:pPr lvl="0" algn="ctr" defTabSz="222250">
                <a:lnSpc>
                  <a:spcPct val="90000"/>
                </a:lnSpc>
                <a:spcBef>
                  <a:spcPct val="0"/>
                </a:spcBef>
                <a:spcAft>
                  <a:spcPct val="35000"/>
                </a:spcAft>
              </a:pPr>
              <a:endParaRPr lang="en-US" sz="500" kern="1200"/>
            </a:p>
          </p:txBody>
        </p:sp>
        <p:sp>
          <p:nvSpPr>
            <p:cNvPr id="14" name="Freeform 13"/>
            <p:cNvSpPr/>
            <p:nvPr/>
          </p:nvSpPr>
          <p:spPr>
            <a:xfrm>
              <a:off x="5176910" y="2461203"/>
              <a:ext cx="459379" cy="91440"/>
            </a:xfrm>
            <a:custGeom>
              <a:avLst/>
              <a:gdLst>
                <a:gd name="connsiteX0" fmla="*/ 0 w 459379"/>
                <a:gd name="connsiteY0" fmla="*/ 45720 h 91440"/>
                <a:gd name="connsiteX1" fmla="*/ 459379 w 459379"/>
                <a:gd name="connsiteY1" fmla="*/ 45720 h 91440"/>
              </a:gdLst>
              <a:ahLst/>
              <a:cxnLst>
                <a:cxn ang="0">
                  <a:pos x="connsiteX0" y="connsiteY0"/>
                </a:cxn>
                <a:cxn ang="0">
                  <a:pos x="connsiteX1" y="connsiteY1"/>
                </a:cxn>
              </a:cxnLst>
              <a:rect l="l" t="t" r="r" b="b"/>
              <a:pathLst>
                <a:path w="459379" h="91440">
                  <a:moveTo>
                    <a:pt x="0" y="45720"/>
                  </a:moveTo>
                  <a:lnTo>
                    <a:pt x="459379"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0905" tIns="34235" rIns="230906" bIns="34237" numCol="1" spcCol="1270" anchor="ctr" anchorCtr="0">
              <a:noAutofit/>
            </a:bodyPr>
            <a:lstStyle/>
            <a:p>
              <a:pPr lvl="0" algn="ctr" defTabSz="222250">
                <a:lnSpc>
                  <a:spcPct val="90000"/>
                </a:lnSpc>
                <a:spcBef>
                  <a:spcPct val="0"/>
                </a:spcBef>
                <a:spcAft>
                  <a:spcPct val="35000"/>
                </a:spcAft>
              </a:pPr>
              <a:endParaRPr lang="en-US" sz="500" kern="1200"/>
            </a:p>
          </p:txBody>
        </p:sp>
        <p:sp>
          <p:nvSpPr>
            <p:cNvPr id="15" name="Freeform 14"/>
            <p:cNvSpPr/>
            <p:nvPr/>
          </p:nvSpPr>
          <p:spPr>
            <a:xfrm>
              <a:off x="1757080" y="2506923"/>
              <a:ext cx="459379" cy="1313013"/>
            </a:xfrm>
            <a:custGeom>
              <a:avLst/>
              <a:gdLst>
                <a:gd name="connsiteX0" fmla="*/ 0 w 459379"/>
                <a:gd name="connsiteY0" fmla="*/ 1313013 h 1313013"/>
                <a:gd name="connsiteX1" fmla="*/ 229689 w 459379"/>
                <a:gd name="connsiteY1" fmla="*/ 1313013 h 1313013"/>
                <a:gd name="connsiteX2" fmla="*/ 229689 w 459379"/>
                <a:gd name="connsiteY2" fmla="*/ 0 h 1313013"/>
                <a:gd name="connsiteX3" fmla="*/ 459379 w 459379"/>
                <a:gd name="connsiteY3" fmla="*/ 0 h 1313013"/>
              </a:gdLst>
              <a:ahLst/>
              <a:cxnLst>
                <a:cxn ang="0">
                  <a:pos x="connsiteX0" y="connsiteY0"/>
                </a:cxn>
                <a:cxn ang="0">
                  <a:pos x="connsiteX1" y="connsiteY1"/>
                </a:cxn>
                <a:cxn ang="0">
                  <a:pos x="connsiteX2" y="connsiteY2"/>
                </a:cxn>
                <a:cxn ang="0">
                  <a:pos x="connsiteX3" y="connsiteY3"/>
                </a:cxn>
              </a:cxnLst>
              <a:rect l="l" t="t" r="r" b="b"/>
              <a:pathLst>
                <a:path w="459379" h="1313013">
                  <a:moveTo>
                    <a:pt x="0" y="1313013"/>
                  </a:moveTo>
                  <a:lnTo>
                    <a:pt x="229689" y="1313013"/>
                  </a:lnTo>
                  <a:lnTo>
                    <a:pt x="229689" y="0"/>
                  </a:lnTo>
                  <a:lnTo>
                    <a:pt x="459379" y="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07613" tIns="621730" rIns="207614" bIns="621731" numCol="1" spcCol="1270" anchor="ctr" anchorCtr="0">
              <a:noAutofit/>
            </a:bodyPr>
            <a:lstStyle/>
            <a:p>
              <a:pPr lvl="0" algn="ctr" defTabSz="222250">
                <a:lnSpc>
                  <a:spcPct val="90000"/>
                </a:lnSpc>
                <a:spcBef>
                  <a:spcPct val="0"/>
                </a:spcBef>
                <a:spcAft>
                  <a:spcPct val="35000"/>
                </a:spcAft>
              </a:pPr>
              <a:endParaRPr lang="en-US" sz="500" kern="1200"/>
            </a:p>
          </p:txBody>
        </p:sp>
        <p:sp>
          <p:nvSpPr>
            <p:cNvPr id="16" name="Freeform 15"/>
            <p:cNvSpPr/>
            <p:nvPr/>
          </p:nvSpPr>
          <p:spPr>
            <a:xfrm>
              <a:off x="5176910" y="1585860"/>
              <a:ext cx="459379" cy="91440"/>
            </a:xfrm>
            <a:custGeom>
              <a:avLst/>
              <a:gdLst>
                <a:gd name="connsiteX0" fmla="*/ 0 w 459379"/>
                <a:gd name="connsiteY0" fmla="*/ 45720 h 91440"/>
                <a:gd name="connsiteX1" fmla="*/ 459379 w 459379"/>
                <a:gd name="connsiteY1" fmla="*/ 45720 h 91440"/>
              </a:gdLst>
              <a:ahLst/>
              <a:cxnLst>
                <a:cxn ang="0">
                  <a:pos x="connsiteX0" y="connsiteY0"/>
                </a:cxn>
                <a:cxn ang="0">
                  <a:pos x="connsiteX1" y="connsiteY1"/>
                </a:cxn>
              </a:cxnLst>
              <a:rect l="l" t="t" r="r" b="b"/>
              <a:pathLst>
                <a:path w="459379" h="91440">
                  <a:moveTo>
                    <a:pt x="0" y="45720"/>
                  </a:moveTo>
                  <a:lnTo>
                    <a:pt x="459379"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0905" tIns="34236" rIns="230906" bIns="34236" numCol="1" spcCol="1270" anchor="ctr" anchorCtr="0">
              <a:noAutofit/>
            </a:bodyPr>
            <a:lstStyle/>
            <a:p>
              <a:pPr lvl="0" algn="ctr" defTabSz="222250">
                <a:lnSpc>
                  <a:spcPct val="90000"/>
                </a:lnSpc>
                <a:spcBef>
                  <a:spcPct val="0"/>
                </a:spcBef>
                <a:spcAft>
                  <a:spcPct val="35000"/>
                </a:spcAft>
              </a:pPr>
              <a:endParaRPr lang="en-US" sz="500" kern="1200"/>
            </a:p>
          </p:txBody>
        </p:sp>
        <p:sp>
          <p:nvSpPr>
            <p:cNvPr id="17" name="Freeform 16"/>
            <p:cNvSpPr/>
            <p:nvPr/>
          </p:nvSpPr>
          <p:spPr>
            <a:xfrm>
              <a:off x="1757080" y="1631580"/>
              <a:ext cx="459379" cy="2188356"/>
            </a:xfrm>
            <a:custGeom>
              <a:avLst/>
              <a:gdLst>
                <a:gd name="connsiteX0" fmla="*/ 0 w 459379"/>
                <a:gd name="connsiteY0" fmla="*/ 2188356 h 2188356"/>
                <a:gd name="connsiteX1" fmla="*/ 229689 w 459379"/>
                <a:gd name="connsiteY1" fmla="*/ 2188356 h 2188356"/>
                <a:gd name="connsiteX2" fmla="*/ 229689 w 459379"/>
                <a:gd name="connsiteY2" fmla="*/ 0 h 2188356"/>
                <a:gd name="connsiteX3" fmla="*/ 459379 w 459379"/>
                <a:gd name="connsiteY3" fmla="*/ 0 h 2188356"/>
              </a:gdLst>
              <a:ahLst/>
              <a:cxnLst>
                <a:cxn ang="0">
                  <a:pos x="connsiteX0" y="connsiteY0"/>
                </a:cxn>
                <a:cxn ang="0">
                  <a:pos x="connsiteX1" y="connsiteY1"/>
                </a:cxn>
                <a:cxn ang="0">
                  <a:pos x="connsiteX2" y="connsiteY2"/>
                </a:cxn>
                <a:cxn ang="0">
                  <a:pos x="connsiteX3" y="connsiteY3"/>
                </a:cxn>
              </a:cxnLst>
              <a:rect l="l" t="t" r="r" b="b"/>
              <a:pathLst>
                <a:path w="459379" h="2188356">
                  <a:moveTo>
                    <a:pt x="0" y="2188356"/>
                  </a:moveTo>
                  <a:lnTo>
                    <a:pt x="229689" y="2188356"/>
                  </a:lnTo>
                  <a:lnTo>
                    <a:pt x="229689" y="0"/>
                  </a:lnTo>
                  <a:lnTo>
                    <a:pt x="459379" y="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186488" tIns="1038277" rIns="186489" bIns="1038277" numCol="1" spcCol="1270" anchor="ctr" anchorCtr="0">
              <a:noAutofit/>
            </a:bodyPr>
            <a:lstStyle/>
            <a:p>
              <a:pPr lvl="0" algn="ctr" defTabSz="355600">
                <a:lnSpc>
                  <a:spcPct val="90000"/>
                </a:lnSpc>
                <a:spcBef>
                  <a:spcPct val="0"/>
                </a:spcBef>
                <a:spcAft>
                  <a:spcPct val="35000"/>
                </a:spcAft>
              </a:pPr>
              <a:endParaRPr lang="en-US" sz="800" kern="1200"/>
            </a:p>
          </p:txBody>
        </p:sp>
        <p:sp>
          <p:nvSpPr>
            <p:cNvPr id="18" name="Freeform 17"/>
            <p:cNvSpPr/>
            <p:nvPr/>
          </p:nvSpPr>
          <p:spPr>
            <a:xfrm rot="16200000">
              <a:off x="-435883" y="3469799"/>
              <a:ext cx="3685652" cy="700274"/>
            </a:xfrm>
            <a:custGeom>
              <a:avLst/>
              <a:gdLst>
                <a:gd name="connsiteX0" fmla="*/ 0 w 3685652"/>
                <a:gd name="connsiteY0" fmla="*/ 0 h 700274"/>
                <a:gd name="connsiteX1" fmla="*/ 3685652 w 3685652"/>
                <a:gd name="connsiteY1" fmla="*/ 0 h 700274"/>
                <a:gd name="connsiteX2" fmla="*/ 3685652 w 3685652"/>
                <a:gd name="connsiteY2" fmla="*/ 700274 h 700274"/>
                <a:gd name="connsiteX3" fmla="*/ 0 w 3685652"/>
                <a:gd name="connsiteY3" fmla="*/ 700274 h 700274"/>
                <a:gd name="connsiteX4" fmla="*/ 0 w 3685652"/>
                <a:gd name="connsiteY4" fmla="*/ 0 h 70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5652" h="700274">
                  <a:moveTo>
                    <a:pt x="0" y="0"/>
                  </a:moveTo>
                  <a:lnTo>
                    <a:pt x="3685652" y="0"/>
                  </a:lnTo>
                  <a:lnTo>
                    <a:pt x="3685652" y="700274"/>
                  </a:lnTo>
                  <a:lnTo>
                    <a:pt x="0" y="7002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210" tIns="29209" rIns="29210" bIns="29210" numCol="1" spcCol="1270" anchor="ctr" anchorCtr="0">
              <a:noAutofit/>
            </a:bodyPr>
            <a:lstStyle/>
            <a:p>
              <a:pPr lvl="0" algn="ctr" defTabSz="2044700">
                <a:lnSpc>
                  <a:spcPct val="90000"/>
                </a:lnSpc>
                <a:spcBef>
                  <a:spcPct val="0"/>
                </a:spcBef>
                <a:spcAft>
                  <a:spcPct val="35000"/>
                </a:spcAft>
              </a:pPr>
              <a:r>
                <a:rPr lang="en-US" sz="4000" kern="1200" dirty="0"/>
                <a:t>Databases</a:t>
              </a:r>
            </a:p>
          </p:txBody>
        </p:sp>
        <p:sp>
          <p:nvSpPr>
            <p:cNvPr id="19" name="Freeform 18"/>
            <p:cNvSpPr/>
            <p:nvPr/>
          </p:nvSpPr>
          <p:spPr>
            <a:xfrm>
              <a:off x="2216460" y="1281443"/>
              <a:ext cx="2960450" cy="700274"/>
            </a:xfrm>
            <a:custGeom>
              <a:avLst/>
              <a:gdLst>
                <a:gd name="connsiteX0" fmla="*/ 0 w 2960450"/>
                <a:gd name="connsiteY0" fmla="*/ 0 h 700274"/>
                <a:gd name="connsiteX1" fmla="*/ 2960450 w 2960450"/>
                <a:gd name="connsiteY1" fmla="*/ 0 h 700274"/>
                <a:gd name="connsiteX2" fmla="*/ 2960450 w 2960450"/>
                <a:gd name="connsiteY2" fmla="*/ 700274 h 700274"/>
                <a:gd name="connsiteX3" fmla="*/ 0 w 2960450"/>
                <a:gd name="connsiteY3" fmla="*/ 700274 h 700274"/>
                <a:gd name="connsiteX4" fmla="*/ 0 w 2960450"/>
                <a:gd name="connsiteY4" fmla="*/ 0 h 70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450" h="700274">
                  <a:moveTo>
                    <a:pt x="0" y="0"/>
                  </a:moveTo>
                  <a:lnTo>
                    <a:pt x="2960450" y="0"/>
                  </a:lnTo>
                  <a:lnTo>
                    <a:pt x="2960450" y="700274"/>
                  </a:lnTo>
                  <a:lnTo>
                    <a:pt x="0" y="7002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2000" kern="1200" dirty="0"/>
                <a:t>SQL DB</a:t>
              </a:r>
            </a:p>
          </p:txBody>
        </p:sp>
        <p:sp>
          <p:nvSpPr>
            <p:cNvPr id="20" name="Freeform 19"/>
            <p:cNvSpPr/>
            <p:nvPr/>
          </p:nvSpPr>
          <p:spPr>
            <a:xfrm>
              <a:off x="5636288" y="1281443"/>
              <a:ext cx="6068031" cy="700274"/>
            </a:xfrm>
            <a:custGeom>
              <a:avLst/>
              <a:gdLst>
                <a:gd name="connsiteX0" fmla="*/ 0 w 2296898"/>
                <a:gd name="connsiteY0" fmla="*/ 0 h 700274"/>
                <a:gd name="connsiteX1" fmla="*/ 2296898 w 2296898"/>
                <a:gd name="connsiteY1" fmla="*/ 0 h 700274"/>
                <a:gd name="connsiteX2" fmla="*/ 2296898 w 2296898"/>
                <a:gd name="connsiteY2" fmla="*/ 700274 h 700274"/>
                <a:gd name="connsiteX3" fmla="*/ 0 w 2296898"/>
                <a:gd name="connsiteY3" fmla="*/ 700274 h 700274"/>
                <a:gd name="connsiteX4" fmla="*/ 0 w 2296898"/>
                <a:gd name="connsiteY4" fmla="*/ 0 h 70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6898" h="700274">
                  <a:moveTo>
                    <a:pt x="0" y="0"/>
                  </a:moveTo>
                  <a:lnTo>
                    <a:pt x="2296898" y="0"/>
                  </a:lnTo>
                  <a:lnTo>
                    <a:pt x="2296898" y="700274"/>
                  </a:lnTo>
                  <a:lnTo>
                    <a:pt x="0" y="7002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just" defTabSz="622300">
                <a:lnSpc>
                  <a:spcPct val="90000"/>
                </a:lnSpc>
                <a:spcBef>
                  <a:spcPct val="0"/>
                </a:spcBef>
                <a:spcAft>
                  <a:spcPct val="35000"/>
                </a:spcAft>
              </a:pPr>
              <a:r>
                <a:rPr lang="en-US" sz="1500" kern="1200" dirty="0"/>
                <a:t>Managed relational SQL Database as a service</a:t>
              </a:r>
            </a:p>
          </p:txBody>
        </p:sp>
        <p:sp>
          <p:nvSpPr>
            <p:cNvPr id="21" name="Freeform 20"/>
            <p:cNvSpPr/>
            <p:nvPr/>
          </p:nvSpPr>
          <p:spPr>
            <a:xfrm>
              <a:off x="2216460" y="2156786"/>
              <a:ext cx="2960450" cy="700274"/>
            </a:xfrm>
            <a:custGeom>
              <a:avLst/>
              <a:gdLst>
                <a:gd name="connsiteX0" fmla="*/ 0 w 2960450"/>
                <a:gd name="connsiteY0" fmla="*/ 0 h 700274"/>
                <a:gd name="connsiteX1" fmla="*/ 2960450 w 2960450"/>
                <a:gd name="connsiteY1" fmla="*/ 0 h 700274"/>
                <a:gd name="connsiteX2" fmla="*/ 2960450 w 2960450"/>
                <a:gd name="connsiteY2" fmla="*/ 700274 h 700274"/>
                <a:gd name="connsiteX3" fmla="*/ 0 w 2960450"/>
                <a:gd name="connsiteY3" fmla="*/ 700274 h 700274"/>
                <a:gd name="connsiteX4" fmla="*/ 0 w 2960450"/>
                <a:gd name="connsiteY4" fmla="*/ 0 h 70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450" h="700274">
                  <a:moveTo>
                    <a:pt x="0" y="0"/>
                  </a:moveTo>
                  <a:lnTo>
                    <a:pt x="2960450" y="0"/>
                  </a:lnTo>
                  <a:lnTo>
                    <a:pt x="2960450" y="700274"/>
                  </a:lnTo>
                  <a:lnTo>
                    <a:pt x="0" y="7002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2000" kern="1200" dirty="0"/>
                <a:t>SQL Data Warehouse</a:t>
              </a:r>
            </a:p>
          </p:txBody>
        </p:sp>
        <p:sp>
          <p:nvSpPr>
            <p:cNvPr id="22" name="Freeform 21"/>
            <p:cNvSpPr/>
            <p:nvPr/>
          </p:nvSpPr>
          <p:spPr>
            <a:xfrm>
              <a:off x="5636288" y="2156786"/>
              <a:ext cx="6068031" cy="700274"/>
            </a:xfrm>
            <a:custGeom>
              <a:avLst/>
              <a:gdLst>
                <a:gd name="connsiteX0" fmla="*/ 0 w 2296898"/>
                <a:gd name="connsiteY0" fmla="*/ 0 h 700274"/>
                <a:gd name="connsiteX1" fmla="*/ 2296898 w 2296898"/>
                <a:gd name="connsiteY1" fmla="*/ 0 h 700274"/>
                <a:gd name="connsiteX2" fmla="*/ 2296898 w 2296898"/>
                <a:gd name="connsiteY2" fmla="*/ 700274 h 700274"/>
                <a:gd name="connsiteX3" fmla="*/ 0 w 2296898"/>
                <a:gd name="connsiteY3" fmla="*/ 700274 h 700274"/>
                <a:gd name="connsiteX4" fmla="*/ 0 w 2296898"/>
                <a:gd name="connsiteY4" fmla="*/ 0 h 70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6898" h="700274">
                  <a:moveTo>
                    <a:pt x="0" y="0"/>
                  </a:moveTo>
                  <a:lnTo>
                    <a:pt x="2296898" y="0"/>
                  </a:lnTo>
                  <a:lnTo>
                    <a:pt x="2296898" y="700274"/>
                  </a:lnTo>
                  <a:lnTo>
                    <a:pt x="0" y="7002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just" defTabSz="622300">
                <a:lnSpc>
                  <a:spcPct val="90000"/>
                </a:lnSpc>
                <a:spcBef>
                  <a:spcPct val="0"/>
                </a:spcBef>
                <a:spcAft>
                  <a:spcPct val="35000"/>
                </a:spcAft>
              </a:pPr>
              <a:r>
                <a:rPr lang="en-US" sz="1500" kern="1200" dirty="0"/>
                <a:t>Elastic data warehouse as a service with enterprise-class features</a:t>
              </a:r>
            </a:p>
          </p:txBody>
        </p:sp>
        <p:sp>
          <p:nvSpPr>
            <p:cNvPr id="23" name="Freeform 22"/>
            <p:cNvSpPr/>
            <p:nvPr/>
          </p:nvSpPr>
          <p:spPr>
            <a:xfrm>
              <a:off x="2216460" y="3032128"/>
              <a:ext cx="2960450" cy="700274"/>
            </a:xfrm>
            <a:custGeom>
              <a:avLst/>
              <a:gdLst>
                <a:gd name="connsiteX0" fmla="*/ 0 w 2960450"/>
                <a:gd name="connsiteY0" fmla="*/ 0 h 700274"/>
                <a:gd name="connsiteX1" fmla="*/ 2960450 w 2960450"/>
                <a:gd name="connsiteY1" fmla="*/ 0 h 700274"/>
                <a:gd name="connsiteX2" fmla="*/ 2960450 w 2960450"/>
                <a:gd name="connsiteY2" fmla="*/ 700274 h 700274"/>
                <a:gd name="connsiteX3" fmla="*/ 0 w 2960450"/>
                <a:gd name="connsiteY3" fmla="*/ 700274 h 700274"/>
                <a:gd name="connsiteX4" fmla="*/ 0 w 2960450"/>
                <a:gd name="connsiteY4" fmla="*/ 0 h 70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450" h="700274">
                  <a:moveTo>
                    <a:pt x="0" y="0"/>
                  </a:moveTo>
                  <a:lnTo>
                    <a:pt x="2960450" y="0"/>
                  </a:lnTo>
                  <a:lnTo>
                    <a:pt x="2960450" y="700274"/>
                  </a:lnTo>
                  <a:lnTo>
                    <a:pt x="0" y="7002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2000" kern="1200" dirty="0"/>
                <a:t>SQL Stretch DB</a:t>
              </a:r>
            </a:p>
          </p:txBody>
        </p:sp>
        <p:sp>
          <p:nvSpPr>
            <p:cNvPr id="24" name="Freeform 23"/>
            <p:cNvSpPr/>
            <p:nvPr/>
          </p:nvSpPr>
          <p:spPr>
            <a:xfrm>
              <a:off x="5636288" y="3032128"/>
              <a:ext cx="6068031" cy="700274"/>
            </a:xfrm>
            <a:custGeom>
              <a:avLst/>
              <a:gdLst>
                <a:gd name="connsiteX0" fmla="*/ 0 w 2296898"/>
                <a:gd name="connsiteY0" fmla="*/ 0 h 700274"/>
                <a:gd name="connsiteX1" fmla="*/ 2296898 w 2296898"/>
                <a:gd name="connsiteY1" fmla="*/ 0 h 700274"/>
                <a:gd name="connsiteX2" fmla="*/ 2296898 w 2296898"/>
                <a:gd name="connsiteY2" fmla="*/ 700274 h 700274"/>
                <a:gd name="connsiteX3" fmla="*/ 0 w 2296898"/>
                <a:gd name="connsiteY3" fmla="*/ 700274 h 700274"/>
                <a:gd name="connsiteX4" fmla="*/ 0 w 2296898"/>
                <a:gd name="connsiteY4" fmla="*/ 0 h 70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6898" h="700274">
                  <a:moveTo>
                    <a:pt x="0" y="0"/>
                  </a:moveTo>
                  <a:lnTo>
                    <a:pt x="2296898" y="0"/>
                  </a:lnTo>
                  <a:lnTo>
                    <a:pt x="2296898" y="700274"/>
                  </a:lnTo>
                  <a:lnTo>
                    <a:pt x="0" y="7002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just" defTabSz="622300">
                <a:lnSpc>
                  <a:spcPct val="90000"/>
                </a:lnSpc>
                <a:spcBef>
                  <a:spcPct val="0"/>
                </a:spcBef>
                <a:spcAft>
                  <a:spcPct val="35000"/>
                </a:spcAft>
              </a:pPr>
              <a:r>
                <a:rPr lang="en-US" sz="1500" kern="1200" dirty="0"/>
                <a:t>Dynamically stretch on-premises SQL Server databases to Azure</a:t>
              </a:r>
            </a:p>
          </p:txBody>
        </p:sp>
        <p:sp>
          <p:nvSpPr>
            <p:cNvPr id="25" name="Freeform 24"/>
            <p:cNvSpPr/>
            <p:nvPr/>
          </p:nvSpPr>
          <p:spPr>
            <a:xfrm>
              <a:off x="2216460" y="3907471"/>
              <a:ext cx="2960450" cy="700274"/>
            </a:xfrm>
            <a:custGeom>
              <a:avLst/>
              <a:gdLst>
                <a:gd name="connsiteX0" fmla="*/ 0 w 2960450"/>
                <a:gd name="connsiteY0" fmla="*/ 0 h 700274"/>
                <a:gd name="connsiteX1" fmla="*/ 2960450 w 2960450"/>
                <a:gd name="connsiteY1" fmla="*/ 0 h 700274"/>
                <a:gd name="connsiteX2" fmla="*/ 2960450 w 2960450"/>
                <a:gd name="connsiteY2" fmla="*/ 700274 h 700274"/>
                <a:gd name="connsiteX3" fmla="*/ 0 w 2960450"/>
                <a:gd name="connsiteY3" fmla="*/ 700274 h 700274"/>
                <a:gd name="connsiteX4" fmla="*/ 0 w 2960450"/>
                <a:gd name="connsiteY4" fmla="*/ 0 h 70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450" h="700274">
                  <a:moveTo>
                    <a:pt x="0" y="0"/>
                  </a:moveTo>
                  <a:lnTo>
                    <a:pt x="2960450" y="0"/>
                  </a:lnTo>
                  <a:lnTo>
                    <a:pt x="2960450" y="700274"/>
                  </a:lnTo>
                  <a:lnTo>
                    <a:pt x="0" y="7002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2000" kern="1200" dirty="0"/>
                <a:t>Cosmos DB</a:t>
              </a:r>
            </a:p>
          </p:txBody>
        </p:sp>
        <p:sp>
          <p:nvSpPr>
            <p:cNvPr id="26" name="Freeform 25"/>
            <p:cNvSpPr/>
            <p:nvPr/>
          </p:nvSpPr>
          <p:spPr>
            <a:xfrm>
              <a:off x="5636288" y="3907471"/>
              <a:ext cx="6068031" cy="700274"/>
            </a:xfrm>
            <a:custGeom>
              <a:avLst/>
              <a:gdLst>
                <a:gd name="connsiteX0" fmla="*/ 0 w 2296898"/>
                <a:gd name="connsiteY0" fmla="*/ 0 h 700274"/>
                <a:gd name="connsiteX1" fmla="*/ 2296898 w 2296898"/>
                <a:gd name="connsiteY1" fmla="*/ 0 h 700274"/>
                <a:gd name="connsiteX2" fmla="*/ 2296898 w 2296898"/>
                <a:gd name="connsiteY2" fmla="*/ 700274 h 700274"/>
                <a:gd name="connsiteX3" fmla="*/ 0 w 2296898"/>
                <a:gd name="connsiteY3" fmla="*/ 700274 h 700274"/>
                <a:gd name="connsiteX4" fmla="*/ 0 w 2296898"/>
                <a:gd name="connsiteY4" fmla="*/ 0 h 70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6898" h="700274">
                  <a:moveTo>
                    <a:pt x="0" y="0"/>
                  </a:moveTo>
                  <a:lnTo>
                    <a:pt x="2296898" y="0"/>
                  </a:lnTo>
                  <a:lnTo>
                    <a:pt x="2296898" y="700274"/>
                  </a:lnTo>
                  <a:lnTo>
                    <a:pt x="0" y="7002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just" defTabSz="622300">
                <a:lnSpc>
                  <a:spcPct val="90000"/>
                </a:lnSpc>
                <a:spcBef>
                  <a:spcPct val="0"/>
                </a:spcBef>
                <a:spcAft>
                  <a:spcPct val="35000"/>
                </a:spcAft>
              </a:pPr>
              <a:r>
                <a:rPr lang="en-US" sz="1500" kern="1200" dirty="0"/>
                <a:t>Globally distributed, multi-model database for any scale</a:t>
              </a:r>
            </a:p>
          </p:txBody>
        </p:sp>
        <p:sp>
          <p:nvSpPr>
            <p:cNvPr id="27" name="Freeform 26"/>
            <p:cNvSpPr/>
            <p:nvPr/>
          </p:nvSpPr>
          <p:spPr>
            <a:xfrm>
              <a:off x="2216460" y="4782813"/>
              <a:ext cx="2960450" cy="700274"/>
            </a:xfrm>
            <a:custGeom>
              <a:avLst/>
              <a:gdLst>
                <a:gd name="connsiteX0" fmla="*/ 0 w 2960450"/>
                <a:gd name="connsiteY0" fmla="*/ 0 h 700274"/>
                <a:gd name="connsiteX1" fmla="*/ 2960450 w 2960450"/>
                <a:gd name="connsiteY1" fmla="*/ 0 h 700274"/>
                <a:gd name="connsiteX2" fmla="*/ 2960450 w 2960450"/>
                <a:gd name="connsiteY2" fmla="*/ 700274 h 700274"/>
                <a:gd name="connsiteX3" fmla="*/ 0 w 2960450"/>
                <a:gd name="connsiteY3" fmla="*/ 700274 h 700274"/>
                <a:gd name="connsiteX4" fmla="*/ 0 w 2960450"/>
                <a:gd name="connsiteY4" fmla="*/ 0 h 70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450" h="700274">
                  <a:moveTo>
                    <a:pt x="0" y="0"/>
                  </a:moveTo>
                  <a:lnTo>
                    <a:pt x="2960450" y="0"/>
                  </a:lnTo>
                  <a:lnTo>
                    <a:pt x="2960450" y="700274"/>
                  </a:lnTo>
                  <a:lnTo>
                    <a:pt x="0" y="7002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2000" kern="1200" dirty="0" err="1"/>
                <a:t>Redis</a:t>
              </a:r>
              <a:r>
                <a:rPr lang="en-US" sz="2000" kern="1200" dirty="0"/>
                <a:t> Cache</a:t>
              </a:r>
            </a:p>
          </p:txBody>
        </p:sp>
        <p:sp>
          <p:nvSpPr>
            <p:cNvPr id="28" name="Freeform 27"/>
            <p:cNvSpPr/>
            <p:nvPr/>
          </p:nvSpPr>
          <p:spPr>
            <a:xfrm>
              <a:off x="5636288" y="4782813"/>
              <a:ext cx="6068031" cy="700274"/>
            </a:xfrm>
            <a:custGeom>
              <a:avLst/>
              <a:gdLst>
                <a:gd name="connsiteX0" fmla="*/ 0 w 2296898"/>
                <a:gd name="connsiteY0" fmla="*/ 0 h 700274"/>
                <a:gd name="connsiteX1" fmla="*/ 2296898 w 2296898"/>
                <a:gd name="connsiteY1" fmla="*/ 0 h 700274"/>
                <a:gd name="connsiteX2" fmla="*/ 2296898 w 2296898"/>
                <a:gd name="connsiteY2" fmla="*/ 700274 h 700274"/>
                <a:gd name="connsiteX3" fmla="*/ 0 w 2296898"/>
                <a:gd name="connsiteY3" fmla="*/ 700274 h 700274"/>
                <a:gd name="connsiteX4" fmla="*/ 0 w 2296898"/>
                <a:gd name="connsiteY4" fmla="*/ 0 h 70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6898" h="700274">
                  <a:moveTo>
                    <a:pt x="0" y="0"/>
                  </a:moveTo>
                  <a:lnTo>
                    <a:pt x="2296898" y="0"/>
                  </a:lnTo>
                  <a:lnTo>
                    <a:pt x="2296898" y="700274"/>
                  </a:lnTo>
                  <a:lnTo>
                    <a:pt x="0" y="7002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just" defTabSz="622300">
                <a:lnSpc>
                  <a:spcPct val="90000"/>
                </a:lnSpc>
                <a:spcBef>
                  <a:spcPct val="0"/>
                </a:spcBef>
                <a:spcAft>
                  <a:spcPct val="35000"/>
                </a:spcAft>
              </a:pPr>
              <a:r>
                <a:rPr lang="en-US" sz="1500" kern="1200" dirty="0"/>
                <a:t>Power applications with high-throughput, low-latency data access</a:t>
              </a:r>
            </a:p>
          </p:txBody>
        </p:sp>
        <p:sp>
          <p:nvSpPr>
            <p:cNvPr id="29" name="Freeform 28"/>
            <p:cNvSpPr/>
            <p:nvPr/>
          </p:nvSpPr>
          <p:spPr>
            <a:xfrm>
              <a:off x="2216460" y="5658156"/>
              <a:ext cx="2960450" cy="700274"/>
            </a:xfrm>
            <a:custGeom>
              <a:avLst/>
              <a:gdLst>
                <a:gd name="connsiteX0" fmla="*/ 0 w 2960450"/>
                <a:gd name="connsiteY0" fmla="*/ 0 h 700274"/>
                <a:gd name="connsiteX1" fmla="*/ 2960450 w 2960450"/>
                <a:gd name="connsiteY1" fmla="*/ 0 h 700274"/>
                <a:gd name="connsiteX2" fmla="*/ 2960450 w 2960450"/>
                <a:gd name="connsiteY2" fmla="*/ 700274 h 700274"/>
                <a:gd name="connsiteX3" fmla="*/ 0 w 2960450"/>
                <a:gd name="connsiteY3" fmla="*/ 700274 h 700274"/>
                <a:gd name="connsiteX4" fmla="*/ 0 w 2960450"/>
                <a:gd name="connsiteY4" fmla="*/ 0 h 70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450" h="700274">
                  <a:moveTo>
                    <a:pt x="0" y="0"/>
                  </a:moveTo>
                  <a:lnTo>
                    <a:pt x="2960450" y="0"/>
                  </a:lnTo>
                  <a:lnTo>
                    <a:pt x="2960450" y="700274"/>
                  </a:lnTo>
                  <a:lnTo>
                    <a:pt x="0" y="7002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2000" kern="1200" dirty="0"/>
                <a:t>Data Factory</a:t>
              </a:r>
            </a:p>
          </p:txBody>
        </p:sp>
        <p:sp>
          <p:nvSpPr>
            <p:cNvPr id="30" name="Freeform 29"/>
            <p:cNvSpPr/>
            <p:nvPr/>
          </p:nvSpPr>
          <p:spPr>
            <a:xfrm>
              <a:off x="5636288" y="5658156"/>
              <a:ext cx="6068031" cy="700274"/>
            </a:xfrm>
            <a:custGeom>
              <a:avLst/>
              <a:gdLst>
                <a:gd name="connsiteX0" fmla="*/ 0 w 2296898"/>
                <a:gd name="connsiteY0" fmla="*/ 0 h 700274"/>
                <a:gd name="connsiteX1" fmla="*/ 2296898 w 2296898"/>
                <a:gd name="connsiteY1" fmla="*/ 0 h 700274"/>
                <a:gd name="connsiteX2" fmla="*/ 2296898 w 2296898"/>
                <a:gd name="connsiteY2" fmla="*/ 700274 h 700274"/>
                <a:gd name="connsiteX3" fmla="*/ 0 w 2296898"/>
                <a:gd name="connsiteY3" fmla="*/ 700274 h 700274"/>
                <a:gd name="connsiteX4" fmla="*/ 0 w 2296898"/>
                <a:gd name="connsiteY4" fmla="*/ 0 h 700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6898" h="700274">
                  <a:moveTo>
                    <a:pt x="0" y="0"/>
                  </a:moveTo>
                  <a:lnTo>
                    <a:pt x="2296898" y="0"/>
                  </a:lnTo>
                  <a:lnTo>
                    <a:pt x="2296898" y="700274"/>
                  </a:lnTo>
                  <a:lnTo>
                    <a:pt x="0" y="7002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just" defTabSz="622300">
                <a:lnSpc>
                  <a:spcPct val="90000"/>
                </a:lnSpc>
                <a:spcBef>
                  <a:spcPct val="0"/>
                </a:spcBef>
                <a:spcAft>
                  <a:spcPct val="35000"/>
                </a:spcAft>
              </a:pPr>
              <a:r>
                <a:rPr lang="en-US" sz="1500" kern="1200" dirty="0"/>
                <a:t>Orchestrate and manage data transformation and movement</a:t>
              </a:r>
            </a:p>
          </p:txBody>
        </p:sp>
      </p:grpSp>
    </p:spTree>
    <p:extLst>
      <p:ext uri="{BB962C8B-B14F-4D97-AF65-F5344CB8AC3E}">
        <p14:creationId xmlns:p14="http://schemas.microsoft.com/office/powerpoint/2010/main" val="25493028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327257"/>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Azure App Services</a:t>
            </a:r>
          </a:p>
        </p:txBody>
      </p:sp>
      <p:sp>
        <p:nvSpPr>
          <p:cNvPr id="3" name="AutoShape 4" descr="Image result for Microsoft Azure">
            <a:extLst>
              <a:ext uri="{FF2B5EF4-FFF2-40B4-BE49-F238E27FC236}">
                <a16:creationId xmlns:a16="http://schemas.microsoft.com/office/drawing/2014/main" id="{22936C06-2E22-482B-9048-FF93A278CC2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5" name="Group 4"/>
          <p:cNvGrpSpPr/>
          <p:nvPr/>
        </p:nvGrpSpPr>
        <p:grpSpPr>
          <a:xfrm>
            <a:off x="708371" y="1280854"/>
            <a:ext cx="11164761" cy="5078164"/>
            <a:chOff x="708371" y="1280854"/>
            <a:chExt cx="11164761" cy="5078164"/>
          </a:xfrm>
        </p:grpSpPr>
        <p:sp>
          <p:nvSpPr>
            <p:cNvPr id="6" name="Freeform 5"/>
            <p:cNvSpPr/>
            <p:nvPr/>
          </p:nvSpPr>
          <p:spPr>
            <a:xfrm>
              <a:off x="6399322" y="5890119"/>
              <a:ext cx="555212" cy="91440"/>
            </a:xfrm>
            <a:custGeom>
              <a:avLst/>
              <a:gdLst>
                <a:gd name="connsiteX0" fmla="*/ 0 w 555212"/>
                <a:gd name="connsiteY0" fmla="*/ 45720 h 91440"/>
                <a:gd name="connsiteX1" fmla="*/ 555212 w 555212"/>
                <a:gd name="connsiteY1" fmla="*/ 45720 h 91440"/>
              </a:gdLst>
              <a:ahLst/>
              <a:cxnLst>
                <a:cxn ang="0">
                  <a:pos x="connsiteX0" y="connsiteY0"/>
                </a:cxn>
                <a:cxn ang="0">
                  <a:pos x="connsiteX1" y="connsiteY1"/>
                </a:cxn>
              </a:cxnLst>
              <a:rect l="l" t="t" r="r" b="b"/>
              <a:pathLst>
                <a:path w="555212" h="91440">
                  <a:moveTo>
                    <a:pt x="0" y="45720"/>
                  </a:moveTo>
                  <a:lnTo>
                    <a:pt x="555212"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76426" tIns="31839" rIns="276426" bIns="31841" numCol="1" spcCol="1270" anchor="ctr" anchorCtr="0">
              <a:noAutofit/>
            </a:bodyPr>
            <a:lstStyle/>
            <a:p>
              <a:pPr lvl="0" algn="ctr" defTabSz="222250">
                <a:lnSpc>
                  <a:spcPct val="90000"/>
                </a:lnSpc>
                <a:spcBef>
                  <a:spcPct val="0"/>
                </a:spcBef>
                <a:spcAft>
                  <a:spcPct val="35000"/>
                </a:spcAft>
              </a:pPr>
              <a:endParaRPr lang="en-US" sz="500" kern="1200"/>
            </a:p>
          </p:txBody>
        </p:sp>
        <p:sp>
          <p:nvSpPr>
            <p:cNvPr id="7" name="Freeform 6"/>
            <p:cNvSpPr/>
            <p:nvPr/>
          </p:nvSpPr>
          <p:spPr>
            <a:xfrm>
              <a:off x="1554730" y="3819937"/>
              <a:ext cx="555212" cy="2115902"/>
            </a:xfrm>
            <a:custGeom>
              <a:avLst/>
              <a:gdLst>
                <a:gd name="connsiteX0" fmla="*/ 0 w 555212"/>
                <a:gd name="connsiteY0" fmla="*/ 0 h 2115902"/>
                <a:gd name="connsiteX1" fmla="*/ 277606 w 555212"/>
                <a:gd name="connsiteY1" fmla="*/ 0 h 2115902"/>
                <a:gd name="connsiteX2" fmla="*/ 277606 w 555212"/>
                <a:gd name="connsiteY2" fmla="*/ 2115902 h 2115902"/>
                <a:gd name="connsiteX3" fmla="*/ 555212 w 555212"/>
                <a:gd name="connsiteY3" fmla="*/ 2115902 h 2115902"/>
              </a:gdLst>
              <a:ahLst/>
              <a:cxnLst>
                <a:cxn ang="0">
                  <a:pos x="connsiteX0" y="connsiteY0"/>
                </a:cxn>
                <a:cxn ang="0">
                  <a:pos x="connsiteX1" y="connsiteY1"/>
                </a:cxn>
                <a:cxn ang="0">
                  <a:pos x="connsiteX2" y="connsiteY2"/>
                </a:cxn>
                <a:cxn ang="0">
                  <a:pos x="connsiteX3" y="connsiteY3"/>
                </a:cxn>
              </a:cxnLst>
              <a:rect l="l" t="t" r="r" b="b"/>
              <a:pathLst>
                <a:path w="555212" h="2115902">
                  <a:moveTo>
                    <a:pt x="0" y="0"/>
                  </a:moveTo>
                  <a:lnTo>
                    <a:pt x="277606" y="0"/>
                  </a:lnTo>
                  <a:lnTo>
                    <a:pt x="277606" y="2115902"/>
                  </a:lnTo>
                  <a:lnTo>
                    <a:pt x="555212" y="2115902"/>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5618" tIns="1003262" rIns="235618" bIns="1003264" numCol="1" spcCol="1270" anchor="ctr" anchorCtr="0">
              <a:noAutofit/>
            </a:bodyPr>
            <a:lstStyle/>
            <a:p>
              <a:pPr lvl="0" algn="ctr" defTabSz="311150">
                <a:lnSpc>
                  <a:spcPct val="90000"/>
                </a:lnSpc>
                <a:spcBef>
                  <a:spcPct val="0"/>
                </a:spcBef>
                <a:spcAft>
                  <a:spcPct val="35000"/>
                </a:spcAft>
              </a:pPr>
              <a:endParaRPr lang="en-US" sz="700" kern="1200"/>
            </a:p>
          </p:txBody>
        </p:sp>
        <p:sp>
          <p:nvSpPr>
            <p:cNvPr id="8" name="Freeform 7"/>
            <p:cNvSpPr/>
            <p:nvPr/>
          </p:nvSpPr>
          <p:spPr>
            <a:xfrm>
              <a:off x="6399322" y="4832168"/>
              <a:ext cx="555212" cy="91440"/>
            </a:xfrm>
            <a:custGeom>
              <a:avLst/>
              <a:gdLst>
                <a:gd name="connsiteX0" fmla="*/ 0 w 555212"/>
                <a:gd name="connsiteY0" fmla="*/ 45720 h 91440"/>
                <a:gd name="connsiteX1" fmla="*/ 555212 w 555212"/>
                <a:gd name="connsiteY1" fmla="*/ 45720 h 91440"/>
              </a:gdLst>
              <a:ahLst/>
              <a:cxnLst>
                <a:cxn ang="0">
                  <a:pos x="connsiteX0" y="connsiteY0"/>
                </a:cxn>
                <a:cxn ang="0">
                  <a:pos x="connsiteX1" y="connsiteY1"/>
                </a:cxn>
              </a:cxnLst>
              <a:rect l="l" t="t" r="r" b="b"/>
              <a:pathLst>
                <a:path w="555212" h="91440">
                  <a:moveTo>
                    <a:pt x="0" y="45720"/>
                  </a:moveTo>
                  <a:lnTo>
                    <a:pt x="555212"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76426" tIns="31839" rIns="276426" bIns="31841" numCol="1" spcCol="1270" anchor="ctr" anchorCtr="0">
              <a:noAutofit/>
            </a:bodyPr>
            <a:lstStyle/>
            <a:p>
              <a:pPr lvl="0" algn="ctr" defTabSz="222250">
                <a:lnSpc>
                  <a:spcPct val="90000"/>
                </a:lnSpc>
                <a:spcBef>
                  <a:spcPct val="0"/>
                </a:spcBef>
                <a:spcAft>
                  <a:spcPct val="35000"/>
                </a:spcAft>
              </a:pPr>
              <a:endParaRPr lang="en-US" sz="500" kern="1200"/>
            </a:p>
          </p:txBody>
        </p:sp>
        <p:sp>
          <p:nvSpPr>
            <p:cNvPr id="9" name="Freeform 8"/>
            <p:cNvSpPr/>
            <p:nvPr/>
          </p:nvSpPr>
          <p:spPr>
            <a:xfrm>
              <a:off x="1554730" y="3819937"/>
              <a:ext cx="555212" cy="1057951"/>
            </a:xfrm>
            <a:custGeom>
              <a:avLst/>
              <a:gdLst>
                <a:gd name="connsiteX0" fmla="*/ 0 w 555212"/>
                <a:gd name="connsiteY0" fmla="*/ 0 h 1057951"/>
                <a:gd name="connsiteX1" fmla="*/ 277606 w 555212"/>
                <a:gd name="connsiteY1" fmla="*/ 0 h 1057951"/>
                <a:gd name="connsiteX2" fmla="*/ 277606 w 555212"/>
                <a:gd name="connsiteY2" fmla="*/ 1057951 h 1057951"/>
                <a:gd name="connsiteX3" fmla="*/ 555212 w 555212"/>
                <a:gd name="connsiteY3" fmla="*/ 1057951 h 1057951"/>
              </a:gdLst>
              <a:ahLst/>
              <a:cxnLst>
                <a:cxn ang="0">
                  <a:pos x="connsiteX0" y="connsiteY0"/>
                </a:cxn>
                <a:cxn ang="0">
                  <a:pos x="connsiteX1" y="connsiteY1"/>
                </a:cxn>
                <a:cxn ang="0">
                  <a:pos x="connsiteX2" y="connsiteY2"/>
                </a:cxn>
                <a:cxn ang="0">
                  <a:pos x="connsiteX3" y="connsiteY3"/>
                </a:cxn>
              </a:cxnLst>
              <a:rect l="l" t="t" r="r" b="b"/>
              <a:pathLst>
                <a:path w="555212" h="1057951">
                  <a:moveTo>
                    <a:pt x="0" y="0"/>
                  </a:moveTo>
                  <a:lnTo>
                    <a:pt x="277606" y="0"/>
                  </a:lnTo>
                  <a:lnTo>
                    <a:pt x="277606" y="1057951"/>
                  </a:lnTo>
                  <a:lnTo>
                    <a:pt x="555212" y="1057951"/>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60437" tIns="499105" rIns="260436" bIns="499107" numCol="1" spcCol="1270" anchor="ctr" anchorCtr="0">
              <a:noAutofit/>
            </a:bodyPr>
            <a:lstStyle/>
            <a:p>
              <a:pPr lvl="0" algn="ctr" defTabSz="222250">
                <a:lnSpc>
                  <a:spcPct val="90000"/>
                </a:lnSpc>
                <a:spcBef>
                  <a:spcPct val="0"/>
                </a:spcBef>
                <a:spcAft>
                  <a:spcPct val="35000"/>
                </a:spcAft>
              </a:pPr>
              <a:endParaRPr lang="en-US" sz="500" kern="1200"/>
            </a:p>
          </p:txBody>
        </p:sp>
        <p:sp>
          <p:nvSpPr>
            <p:cNvPr id="10" name="Freeform 9"/>
            <p:cNvSpPr/>
            <p:nvPr/>
          </p:nvSpPr>
          <p:spPr>
            <a:xfrm>
              <a:off x="6399322" y="3774217"/>
              <a:ext cx="555212" cy="91440"/>
            </a:xfrm>
            <a:custGeom>
              <a:avLst/>
              <a:gdLst>
                <a:gd name="connsiteX0" fmla="*/ 0 w 555212"/>
                <a:gd name="connsiteY0" fmla="*/ 45720 h 91440"/>
                <a:gd name="connsiteX1" fmla="*/ 555212 w 555212"/>
                <a:gd name="connsiteY1" fmla="*/ 45720 h 91440"/>
              </a:gdLst>
              <a:ahLst/>
              <a:cxnLst>
                <a:cxn ang="0">
                  <a:pos x="connsiteX0" y="connsiteY0"/>
                </a:cxn>
                <a:cxn ang="0">
                  <a:pos x="connsiteX1" y="connsiteY1"/>
                </a:cxn>
              </a:cxnLst>
              <a:rect l="l" t="t" r="r" b="b"/>
              <a:pathLst>
                <a:path w="555212" h="91440">
                  <a:moveTo>
                    <a:pt x="0" y="45720"/>
                  </a:moveTo>
                  <a:lnTo>
                    <a:pt x="555212"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76426" tIns="31839" rIns="276426" bIns="31841" numCol="1" spcCol="1270" anchor="ctr" anchorCtr="0">
              <a:noAutofit/>
            </a:bodyPr>
            <a:lstStyle/>
            <a:p>
              <a:pPr lvl="0" algn="ctr" defTabSz="222250">
                <a:lnSpc>
                  <a:spcPct val="90000"/>
                </a:lnSpc>
                <a:spcBef>
                  <a:spcPct val="0"/>
                </a:spcBef>
                <a:spcAft>
                  <a:spcPct val="35000"/>
                </a:spcAft>
              </a:pPr>
              <a:endParaRPr lang="en-US" sz="500" kern="1200"/>
            </a:p>
          </p:txBody>
        </p:sp>
        <p:sp>
          <p:nvSpPr>
            <p:cNvPr id="11" name="Freeform 10"/>
            <p:cNvSpPr/>
            <p:nvPr/>
          </p:nvSpPr>
          <p:spPr>
            <a:xfrm>
              <a:off x="1554730" y="3774217"/>
              <a:ext cx="555212" cy="91440"/>
            </a:xfrm>
            <a:custGeom>
              <a:avLst/>
              <a:gdLst>
                <a:gd name="connsiteX0" fmla="*/ 0 w 555212"/>
                <a:gd name="connsiteY0" fmla="*/ 45720 h 91440"/>
                <a:gd name="connsiteX1" fmla="*/ 555212 w 555212"/>
                <a:gd name="connsiteY1" fmla="*/ 45720 h 91440"/>
              </a:gdLst>
              <a:ahLst/>
              <a:cxnLst>
                <a:cxn ang="0">
                  <a:pos x="connsiteX0" y="connsiteY0"/>
                </a:cxn>
                <a:cxn ang="0">
                  <a:pos x="connsiteX1" y="connsiteY1"/>
                </a:cxn>
              </a:cxnLst>
              <a:rect l="l" t="t" r="r" b="b"/>
              <a:pathLst>
                <a:path w="555212" h="91440">
                  <a:moveTo>
                    <a:pt x="0" y="45720"/>
                  </a:moveTo>
                  <a:lnTo>
                    <a:pt x="555212" y="4572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76426" tIns="31839" rIns="276426" bIns="31841" numCol="1" spcCol="1270" anchor="ctr" anchorCtr="0">
              <a:noAutofit/>
            </a:bodyPr>
            <a:lstStyle/>
            <a:p>
              <a:pPr lvl="0" algn="ctr" defTabSz="222250">
                <a:lnSpc>
                  <a:spcPct val="90000"/>
                </a:lnSpc>
                <a:spcBef>
                  <a:spcPct val="0"/>
                </a:spcBef>
                <a:spcAft>
                  <a:spcPct val="35000"/>
                </a:spcAft>
              </a:pPr>
              <a:endParaRPr lang="en-US" sz="500" kern="1200"/>
            </a:p>
          </p:txBody>
        </p:sp>
        <p:sp>
          <p:nvSpPr>
            <p:cNvPr id="12" name="Freeform 11"/>
            <p:cNvSpPr/>
            <p:nvPr/>
          </p:nvSpPr>
          <p:spPr>
            <a:xfrm>
              <a:off x="6399322" y="2716265"/>
              <a:ext cx="555212" cy="91440"/>
            </a:xfrm>
            <a:custGeom>
              <a:avLst/>
              <a:gdLst>
                <a:gd name="connsiteX0" fmla="*/ 0 w 555212"/>
                <a:gd name="connsiteY0" fmla="*/ 45720 h 91440"/>
                <a:gd name="connsiteX1" fmla="*/ 555212 w 555212"/>
                <a:gd name="connsiteY1" fmla="*/ 45720 h 91440"/>
              </a:gdLst>
              <a:ahLst/>
              <a:cxnLst>
                <a:cxn ang="0">
                  <a:pos x="connsiteX0" y="connsiteY0"/>
                </a:cxn>
                <a:cxn ang="0">
                  <a:pos x="connsiteX1" y="connsiteY1"/>
                </a:cxn>
              </a:cxnLst>
              <a:rect l="l" t="t" r="r" b="b"/>
              <a:pathLst>
                <a:path w="555212" h="91440">
                  <a:moveTo>
                    <a:pt x="0" y="45720"/>
                  </a:moveTo>
                  <a:lnTo>
                    <a:pt x="555212"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76426" tIns="31840" rIns="276426" bIns="31840" numCol="1" spcCol="1270" anchor="ctr" anchorCtr="0">
              <a:noAutofit/>
            </a:bodyPr>
            <a:lstStyle/>
            <a:p>
              <a:pPr lvl="0" algn="ctr" defTabSz="222250">
                <a:lnSpc>
                  <a:spcPct val="90000"/>
                </a:lnSpc>
                <a:spcBef>
                  <a:spcPct val="0"/>
                </a:spcBef>
                <a:spcAft>
                  <a:spcPct val="35000"/>
                </a:spcAft>
              </a:pPr>
              <a:endParaRPr lang="en-US" sz="500" kern="1200"/>
            </a:p>
          </p:txBody>
        </p:sp>
        <p:sp>
          <p:nvSpPr>
            <p:cNvPr id="13" name="Freeform 12"/>
            <p:cNvSpPr/>
            <p:nvPr/>
          </p:nvSpPr>
          <p:spPr>
            <a:xfrm>
              <a:off x="1554730" y="2761985"/>
              <a:ext cx="555212" cy="1057951"/>
            </a:xfrm>
            <a:custGeom>
              <a:avLst/>
              <a:gdLst>
                <a:gd name="connsiteX0" fmla="*/ 0 w 555212"/>
                <a:gd name="connsiteY0" fmla="*/ 1057951 h 1057951"/>
                <a:gd name="connsiteX1" fmla="*/ 277606 w 555212"/>
                <a:gd name="connsiteY1" fmla="*/ 1057951 h 1057951"/>
                <a:gd name="connsiteX2" fmla="*/ 277606 w 555212"/>
                <a:gd name="connsiteY2" fmla="*/ 0 h 1057951"/>
                <a:gd name="connsiteX3" fmla="*/ 555212 w 555212"/>
                <a:gd name="connsiteY3" fmla="*/ 0 h 1057951"/>
              </a:gdLst>
              <a:ahLst/>
              <a:cxnLst>
                <a:cxn ang="0">
                  <a:pos x="connsiteX0" y="connsiteY0"/>
                </a:cxn>
                <a:cxn ang="0">
                  <a:pos x="connsiteX1" y="connsiteY1"/>
                </a:cxn>
                <a:cxn ang="0">
                  <a:pos x="connsiteX2" y="connsiteY2"/>
                </a:cxn>
                <a:cxn ang="0">
                  <a:pos x="connsiteX3" y="connsiteY3"/>
                </a:cxn>
              </a:cxnLst>
              <a:rect l="l" t="t" r="r" b="b"/>
              <a:pathLst>
                <a:path w="555212" h="1057951">
                  <a:moveTo>
                    <a:pt x="0" y="1057951"/>
                  </a:moveTo>
                  <a:lnTo>
                    <a:pt x="277606" y="1057951"/>
                  </a:lnTo>
                  <a:lnTo>
                    <a:pt x="277606" y="0"/>
                  </a:lnTo>
                  <a:lnTo>
                    <a:pt x="555212" y="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60437" tIns="499106" rIns="260436" bIns="499106" numCol="1" spcCol="1270" anchor="ctr" anchorCtr="0">
              <a:noAutofit/>
            </a:bodyPr>
            <a:lstStyle/>
            <a:p>
              <a:pPr lvl="0" algn="ctr" defTabSz="222250">
                <a:lnSpc>
                  <a:spcPct val="90000"/>
                </a:lnSpc>
                <a:spcBef>
                  <a:spcPct val="0"/>
                </a:spcBef>
                <a:spcAft>
                  <a:spcPct val="35000"/>
                </a:spcAft>
              </a:pPr>
              <a:endParaRPr lang="en-US" sz="500" kern="1200"/>
            </a:p>
          </p:txBody>
        </p:sp>
        <p:sp>
          <p:nvSpPr>
            <p:cNvPr id="14" name="Freeform 13"/>
            <p:cNvSpPr/>
            <p:nvPr/>
          </p:nvSpPr>
          <p:spPr>
            <a:xfrm>
              <a:off x="6399322" y="1658314"/>
              <a:ext cx="555212" cy="91440"/>
            </a:xfrm>
            <a:custGeom>
              <a:avLst/>
              <a:gdLst>
                <a:gd name="connsiteX0" fmla="*/ 0 w 555212"/>
                <a:gd name="connsiteY0" fmla="*/ 45720 h 91440"/>
                <a:gd name="connsiteX1" fmla="*/ 555212 w 555212"/>
                <a:gd name="connsiteY1" fmla="*/ 45720 h 91440"/>
              </a:gdLst>
              <a:ahLst/>
              <a:cxnLst>
                <a:cxn ang="0">
                  <a:pos x="connsiteX0" y="connsiteY0"/>
                </a:cxn>
                <a:cxn ang="0">
                  <a:pos x="connsiteX1" y="connsiteY1"/>
                </a:cxn>
              </a:cxnLst>
              <a:rect l="l" t="t" r="r" b="b"/>
              <a:pathLst>
                <a:path w="555212" h="91440">
                  <a:moveTo>
                    <a:pt x="0" y="45720"/>
                  </a:moveTo>
                  <a:lnTo>
                    <a:pt x="555212"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76426" tIns="31840" rIns="276426" bIns="31840" numCol="1" spcCol="1270" anchor="ctr" anchorCtr="0">
              <a:noAutofit/>
            </a:bodyPr>
            <a:lstStyle/>
            <a:p>
              <a:pPr lvl="0" algn="ctr" defTabSz="222250">
                <a:lnSpc>
                  <a:spcPct val="90000"/>
                </a:lnSpc>
                <a:spcBef>
                  <a:spcPct val="0"/>
                </a:spcBef>
                <a:spcAft>
                  <a:spcPct val="35000"/>
                </a:spcAft>
              </a:pPr>
              <a:endParaRPr lang="en-US" sz="500" kern="1200"/>
            </a:p>
          </p:txBody>
        </p:sp>
        <p:sp>
          <p:nvSpPr>
            <p:cNvPr id="15" name="Freeform 14"/>
            <p:cNvSpPr/>
            <p:nvPr/>
          </p:nvSpPr>
          <p:spPr>
            <a:xfrm>
              <a:off x="1554730" y="1704034"/>
              <a:ext cx="555212" cy="2115902"/>
            </a:xfrm>
            <a:custGeom>
              <a:avLst/>
              <a:gdLst>
                <a:gd name="connsiteX0" fmla="*/ 0 w 555212"/>
                <a:gd name="connsiteY0" fmla="*/ 2115902 h 2115902"/>
                <a:gd name="connsiteX1" fmla="*/ 277606 w 555212"/>
                <a:gd name="connsiteY1" fmla="*/ 2115902 h 2115902"/>
                <a:gd name="connsiteX2" fmla="*/ 277606 w 555212"/>
                <a:gd name="connsiteY2" fmla="*/ 0 h 2115902"/>
                <a:gd name="connsiteX3" fmla="*/ 555212 w 555212"/>
                <a:gd name="connsiteY3" fmla="*/ 0 h 2115902"/>
              </a:gdLst>
              <a:ahLst/>
              <a:cxnLst>
                <a:cxn ang="0">
                  <a:pos x="connsiteX0" y="connsiteY0"/>
                </a:cxn>
                <a:cxn ang="0">
                  <a:pos x="connsiteX1" y="connsiteY1"/>
                </a:cxn>
                <a:cxn ang="0">
                  <a:pos x="connsiteX2" y="connsiteY2"/>
                </a:cxn>
                <a:cxn ang="0">
                  <a:pos x="connsiteX3" y="connsiteY3"/>
                </a:cxn>
              </a:cxnLst>
              <a:rect l="l" t="t" r="r" b="b"/>
              <a:pathLst>
                <a:path w="555212" h="2115902">
                  <a:moveTo>
                    <a:pt x="0" y="2115902"/>
                  </a:moveTo>
                  <a:lnTo>
                    <a:pt x="277606" y="2115902"/>
                  </a:lnTo>
                  <a:lnTo>
                    <a:pt x="277606" y="0"/>
                  </a:lnTo>
                  <a:lnTo>
                    <a:pt x="555212" y="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5618" tIns="1003263" rIns="235618" bIns="1003263" numCol="1" spcCol="1270" anchor="ctr" anchorCtr="0">
              <a:noAutofit/>
            </a:bodyPr>
            <a:lstStyle/>
            <a:p>
              <a:pPr lvl="0" algn="ctr" defTabSz="311150">
                <a:lnSpc>
                  <a:spcPct val="90000"/>
                </a:lnSpc>
                <a:spcBef>
                  <a:spcPct val="0"/>
                </a:spcBef>
                <a:spcAft>
                  <a:spcPct val="35000"/>
                </a:spcAft>
              </a:pPr>
              <a:endParaRPr lang="en-US" sz="700" kern="1200"/>
            </a:p>
          </p:txBody>
        </p:sp>
        <p:sp>
          <p:nvSpPr>
            <p:cNvPr id="16" name="Freeform 15"/>
            <p:cNvSpPr/>
            <p:nvPr/>
          </p:nvSpPr>
          <p:spPr>
            <a:xfrm rot="16200000">
              <a:off x="-1095714" y="3396756"/>
              <a:ext cx="4454530" cy="846360"/>
            </a:xfrm>
            <a:custGeom>
              <a:avLst/>
              <a:gdLst>
                <a:gd name="connsiteX0" fmla="*/ 0 w 4454530"/>
                <a:gd name="connsiteY0" fmla="*/ 0 h 846360"/>
                <a:gd name="connsiteX1" fmla="*/ 4454530 w 4454530"/>
                <a:gd name="connsiteY1" fmla="*/ 0 h 846360"/>
                <a:gd name="connsiteX2" fmla="*/ 4454530 w 4454530"/>
                <a:gd name="connsiteY2" fmla="*/ 846360 h 846360"/>
                <a:gd name="connsiteX3" fmla="*/ 0 w 4454530"/>
                <a:gd name="connsiteY3" fmla="*/ 846360 h 846360"/>
                <a:gd name="connsiteX4" fmla="*/ 0 w 4454530"/>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4530" h="846360">
                  <a:moveTo>
                    <a:pt x="0" y="0"/>
                  </a:moveTo>
                  <a:lnTo>
                    <a:pt x="4454530" y="0"/>
                  </a:lnTo>
                  <a:lnTo>
                    <a:pt x="4454530"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4000" kern="1200" dirty="0"/>
                <a:t>App Services</a:t>
              </a:r>
            </a:p>
          </p:txBody>
        </p:sp>
        <p:sp>
          <p:nvSpPr>
            <p:cNvPr id="17" name="Freeform 16"/>
            <p:cNvSpPr/>
            <p:nvPr/>
          </p:nvSpPr>
          <p:spPr>
            <a:xfrm>
              <a:off x="2109943" y="1280854"/>
              <a:ext cx="4289379" cy="846360"/>
            </a:xfrm>
            <a:custGeom>
              <a:avLst/>
              <a:gdLst>
                <a:gd name="connsiteX0" fmla="*/ 0 w 4289379"/>
                <a:gd name="connsiteY0" fmla="*/ 0 h 846360"/>
                <a:gd name="connsiteX1" fmla="*/ 4289379 w 4289379"/>
                <a:gd name="connsiteY1" fmla="*/ 0 h 846360"/>
                <a:gd name="connsiteX2" fmla="*/ 4289379 w 4289379"/>
                <a:gd name="connsiteY2" fmla="*/ 846360 h 846360"/>
                <a:gd name="connsiteX3" fmla="*/ 0 w 4289379"/>
                <a:gd name="connsiteY3" fmla="*/ 846360 h 846360"/>
                <a:gd name="connsiteX4" fmla="*/ 0 w 4289379"/>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9379" h="846360">
                  <a:moveTo>
                    <a:pt x="0" y="0"/>
                  </a:moveTo>
                  <a:lnTo>
                    <a:pt x="4289379" y="0"/>
                  </a:lnTo>
                  <a:lnTo>
                    <a:pt x="4289379"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2000" kern="1200" dirty="0"/>
                <a:t>Web Apps</a:t>
              </a:r>
            </a:p>
          </p:txBody>
        </p:sp>
        <p:sp>
          <p:nvSpPr>
            <p:cNvPr id="18" name="Freeform 17"/>
            <p:cNvSpPr/>
            <p:nvPr/>
          </p:nvSpPr>
          <p:spPr>
            <a:xfrm>
              <a:off x="6954535" y="1280854"/>
              <a:ext cx="4918597" cy="846360"/>
            </a:xfrm>
            <a:custGeom>
              <a:avLst/>
              <a:gdLst>
                <a:gd name="connsiteX0" fmla="*/ 0 w 2776063"/>
                <a:gd name="connsiteY0" fmla="*/ 0 h 846360"/>
                <a:gd name="connsiteX1" fmla="*/ 2776063 w 2776063"/>
                <a:gd name="connsiteY1" fmla="*/ 0 h 846360"/>
                <a:gd name="connsiteX2" fmla="*/ 2776063 w 2776063"/>
                <a:gd name="connsiteY2" fmla="*/ 846360 h 846360"/>
                <a:gd name="connsiteX3" fmla="*/ 0 w 2776063"/>
                <a:gd name="connsiteY3" fmla="*/ 846360 h 846360"/>
                <a:gd name="connsiteX4" fmla="*/ 0 w 2776063"/>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6063" h="846360">
                  <a:moveTo>
                    <a:pt x="0" y="0"/>
                  </a:moveTo>
                  <a:lnTo>
                    <a:pt x="2776063" y="0"/>
                  </a:lnTo>
                  <a:lnTo>
                    <a:pt x="2776063"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795" tIns="10795" rIns="10795" bIns="10795" numCol="1" spcCol="1270" anchor="ctr" anchorCtr="0">
              <a:noAutofit/>
            </a:bodyPr>
            <a:lstStyle/>
            <a:p>
              <a:pPr lvl="0" algn="just" defTabSz="755650">
                <a:lnSpc>
                  <a:spcPct val="90000"/>
                </a:lnSpc>
                <a:spcBef>
                  <a:spcPct val="0"/>
                </a:spcBef>
                <a:spcAft>
                  <a:spcPct val="35000"/>
                </a:spcAft>
              </a:pPr>
              <a:r>
                <a:rPr lang="en-US" sz="1500" b="0" i="0" kern="1200" dirty="0"/>
                <a:t>Quickly create and deploy mission critical Web apps at scale</a:t>
              </a:r>
              <a:endParaRPr lang="en-US" sz="1500" kern="1200" dirty="0"/>
            </a:p>
          </p:txBody>
        </p:sp>
        <p:sp>
          <p:nvSpPr>
            <p:cNvPr id="19" name="Freeform 18"/>
            <p:cNvSpPr/>
            <p:nvPr/>
          </p:nvSpPr>
          <p:spPr>
            <a:xfrm>
              <a:off x="2109943" y="2338805"/>
              <a:ext cx="4289379" cy="846360"/>
            </a:xfrm>
            <a:custGeom>
              <a:avLst/>
              <a:gdLst>
                <a:gd name="connsiteX0" fmla="*/ 0 w 4289379"/>
                <a:gd name="connsiteY0" fmla="*/ 0 h 846360"/>
                <a:gd name="connsiteX1" fmla="*/ 4289379 w 4289379"/>
                <a:gd name="connsiteY1" fmla="*/ 0 h 846360"/>
                <a:gd name="connsiteX2" fmla="*/ 4289379 w 4289379"/>
                <a:gd name="connsiteY2" fmla="*/ 846360 h 846360"/>
                <a:gd name="connsiteX3" fmla="*/ 0 w 4289379"/>
                <a:gd name="connsiteY3" fmla="*/ 846360 h 846360"/>
                <a:gd name="connsiteX4" fmla="*/ 0 w 4289379"/>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9379" h="846360">
                  <a:moveTo>
                    <a:pt x="0" y="0"/>
                  </a:moveTo>
                  <a:lnTo>
                    <a:pt x="4289379" y="0"/>
                  </a:lnTo>
                  <a:lnTo>
                    <a:pt x="4289379"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2000" kern="1200" dirty="0"/>
                <a:t>Mobile Apps</a:t>
              </a:r>
            </a:p>
          </p:txBody>
        </p:sp>
        <p:sp>
          <p:nvSpPr>
            <p:cNvPr id="20" name="Freeform 19"/>
            <p:cNvSpPr/>
            <p:nvPr/>
          </p:nvSpPr>
          <p:spPr>
            <a:xfrm>
              <a:off x="6954535" y="2338805"/>
              <a:ext cx="4918597" cy="846360"/>
            </a:xfrm>
            <a:custGeom>
              <a:avLst/>
              <a:gdLst>
                <a:gd name="connsiteX0" fmla="*/ 0 w 2776063"/>
                <a:gd name="connsiteY0" fmla="*/ 0 h 846360"/>
                <a:gd name="connsiteX1" fmla="*/ 2776063 w 2776063"/>
                <a:gd name="connsiteY1" fmla="*/ 0 h 846360"/>
                <a:gd name="connsiteX2" fmla="*/ 2776063 w 2776063"/>
                <a:gd name="connsiteY2" fmla="*/ 846360 h 846360"/>
                <a:gd name="connsiteX3" fmla="*/ 0 w 2776063"/>
                <a:gd name="connsiteY3" fmla="*/ 846360 h 846360"/>
                <a:gd name="connsiteX4" fmla="*/ 0 w 2776063"/>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6063" h="846360">
                  <a:moveTo>
                    <a:pt x="0" y="0"/>
                  </a:moveTo>
                  <a:lnTo>
                    <a:pt x="2776063" y="0"/>
                  </a:lnTo>
                  <a:lnTo>
                    <a:pt x="2776063"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795" tIns="10795" rIns="10795" bIns="10795" numCol="1" spcCol="1270" anchor="ctr" anchorCtr="0">
              <a:noAutofit/>
            </a:bodyPr>
            <a:lstStyle/>
            <a:p>
              <a:pPr lvl="0" algn="just" defTabSz="755650">
                <a:lnSpc>
                  <a:spcPct val="90000"/>
                </a:lnSpc>
                <a:spcBef>
                  <a:spcPct val="0"/>
                </a:spcBef>
                <a:spcAft>
                  <a:spcPct val="35000"/>
                </a:spcAft>
              </a:pPr>
              <a:r>
                <a:rPr lang="en-US" sz="1500" kern="1200" dirty="0"/>
                <a:t>Build and host the backend for any mobile app</a:t>
              </a:r>
            </a:p>
          </p:txBody>
        </p:sp>
        <p:sp>
          <p:nvSpPr>
            <p:cNvPr id="21" name="Freeform 20"/>
            <p:cNvSpPr/>
            <p:nvPr/>
          </p:nvSpPr>
          <p:spPr>
            <a:xfrm>
              <a:off x="2109943" y="3396756"/>
              <a:ext cx="4289379" cy="846360"/>
            </a:xfrm>
            <a:custGeom>
              <a:avLst/>
              <a:gdLst>
                <a:gd name="connsiteX0" fmla="*/ 0 w 4289379"/>
                <a:gd name="connsiteY0" fmla="*/ 0 h 846360"/>
                <a:gd name="connsiteX1" fmla="*/ 4289379 w 4289379"/>
                <a:gd name="connsiteY1" fmla="*/ 0 h 846360"/>
                <a:gd name="connsiteX2" fmla="*/ 4289379 w 4289379"/>
                <a:gd name="connsiteY2" fmla="*/ 846360 h 846360"/>
                <a:gd name="connsiteX3" fmla="*/ 0 w 4289379"/>
                <a:gd name="connsiteY3" fmla="*/ 846360 h 846360"/>
                <a:gd name="connsiteX4" fmla="*/ 0 w 4289379"/>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9379" h="846360">
                  <a:moveTo>
                    <a:pt x="0" y="0"/>
                  </a:moveTo>
                  <a:lnTo>
                    <a:pt x="4289379" y="0"/>
                  </a:lnTo>
                  <a:lnTo>
                    <a:pt x="4289379"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2000" kern="1200" dirty="0"/>
                <a:t>Logic Apps</a:t>
              </a:r>
            </a:p>
          </p:txBody>
        </p:sp>
        <p:sp>
          <p:nvSpPr>
            <p:cNvPr id="22" name="Freeform 21"/>
            <p:cNvSpPr/>
            <p:nvPr/>
          </p:nvSpPr>
          <p:spPr>
            <a:xfrm>
              <a:off x="6954535" y="3396756"/>
              <a:ext cx="4918597" cy="846360"/>
            </a:xfrm>
            <a:custGeom>
              <a:avLst/>
              <a:gdLst>
                <a:gd name="connsiteX0" fmla="*/ 0 w 2776063"/>
                <a:gd name="connsiteY0" fmla="*/ 0 h 846360"/>
                <a:gd name="connsiteX1" fmla="*/ 2776063 w 2776063"/>
                <a:gd name="connsiteY1" fmla="*/ 0 h 846360"/>
                <a:gd name="connsiteX2" fmla="*/ 2776063 w 2776063"/>
                <a:gd name="connsiteY2" fmla="*/ 846360 h 846360"/>
                <a:gd name="connsiteX3" fmla="*/ 0 w 2776063"/>
                <a:gd name="connsiteY3" fmla="*/ 846360 h 846360"/>
                <a:gd name="connsiteX4" fmla="*/ 0 w 2776063"/>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6063" h="846360">
                  <a:moveTo>
                    <a:pt x="0" y="0"/>
                  </a:moveTo>
                  <a:lnTo>
                    <a:pt x="2776063" y="0"/>
                  </a:lnTo>
                  <a:lnTo>
                    <a:pt x="2776063"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795" tIns="10795" rIns="10795" bIns="10795" numCol="1" spcCol="1270" anchor="ctr" anchorCtr="0">
              <a:noAutofit/>
            </a:bodyPr>
            <a:lstStyle/>
            <a:p>
              <a:pPr lvl="0" algn="just" defTabSz="755650">
                <a:lnSpc>
                  <a:spcPct val="90000"/>
                </a:lnSpc>
                <a:spcBef>
                  <a:spcPct val="0"/>
                </a:spcBef>
                <a:spcAft>
                  <a:spcPct val="35000"/>
                </a:spcAft>
              </a:pPr>
              <a:r>
                <a:rPr lang="en-US" sz="1500" b="0" i="0" kern="1200" dirty="0"/>
                <a:t>Automate the access and use of data across clouds without writing code</a:t>
              </a:r>
              <a:endParaRPr lang="en-US" sz="1500" kern="1200" dirty="0"/>
            </a:p>
          </p:txBody>
        </p:sp>
        <p:sp>
          <p:nvSpPr>
            <p:cNvPr id="23" name="Freeform 22"/>
            <p:cNvSpPr/>
            <p:nvPr/>
          </p:nvSpPr>
          <p:spPr>
            <a:xfrm>
              <a:off x="2109943" y="4454707"/>
              <a:ext cx="4289379" cy="846360"/>
            </a:xfrm>
            <a:custGeom>
              <a:avLst/>
              <a:gdLst>
                <a:gd name="connsiteX0" fmla="*/ 0 w 4289379"/>
                <a:gd name="connsiteY0" fmla="*/ 0 h 846360"/>
                <a:gd name="connsiteX1" fmla="*/ 4289379 w 4289379"/>
                <a:gd name="connsiteY1" fmla="*/ 0 h 846360"/>
                <a:gd name="connsiteX2" fmla="*/ 4289379 w 4289379"/>
                <a:gd name="connsiteY2" fmla="*/ 846360 h 846360"/>
                <a:gd name="connsiteX3" fmla="*/ 0 w 4289379"/>
                <a:gd name="connsiteY3" fmla="*/ 846360 h 846360"/>
                <a:gd name="connsiteX4" fmla="*/ 0 w 4289379"/>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9379" h="846360">
                  <a:moveTo>
                    <a:pt x="0" y="0"/>
                  </a:moveTo>
                  <a:lnTo>
                    <a:pt x="4289379" y="0"/>
                  </a:lnTo>
                  <a:lnTo>
                    <a:pt x="4289379"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2000" kern="1200" dirty="0"/>
                <a:t>API Apps</a:t>
              </a:r>
            </a:p>
          </p:txBody>
        </p:sp>
        <p:sp>
          <p:nvSpPr>
            <p:cNvPr id="24" name="Freeform 23"/>
            <p:cNvSpPr/>
            <p:nvPr/>
          </p:nvSpPr>
          <p:spPr>
            <a:xfrm>
              <a:off x="6954535" y="4454707"/>
              <a:ext cx="4918597" cy="846360"/>
            </a:xfrm>
            <a:custGeom>
              <a:avLst/>
              <a:gdLst>
                <a:gd name="connsiteX0" fmla="*/ 0 w 2776063"/>
                <a:gd name="connsiteY0" fmla="*/ 0 h 846360"/>
                <a:gd name="connsiteX1" fmla="*/ 2776063 w 2776063"/>
                <a:gd name="connsiteY1" fmla="*/ 0 h 846360"/>
                <a:gd name="connsiteX2" fmla="*/ 2776063 w 2776063"/>
                <a:gd name="connsiteY2" fmla="*/ 846360 h 846360"/>
                <a:gd name="connsiteX3" fmla="*/ 0 w 2776063"/>
                <a:gd name="connsiteY3" fmla="*/ 846360 h 846360"/>
                <a:gd name="connsiteX4" fmla="*/ 0 w 2776063"/>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6063" h="846360">
                  <a:moveTo>
                    <a:pt x="0" y="0"/>
                  </a:moveTo>
                  <a:lnTo>
                    <a:pt x="2776063" y="0"/>
                  </a:lnTo>
                  <a:lnTo>
                    <a:pt x="2776063"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795" tIns="10795" rIns="10795" bIns="10795" numCol="1" spcCol="1270" anchor="ctr" anchorCtr="0">
              <a:noAutofit/>
            </a:bodyPr>
            <a:lstStyle/>
            <a:p>
              <a:pPr lvl="0" algn="just" defTabSz="755650">
                <a:lnSpc>
                  <a:spcPct val="90000"/>
                </a:lnSpc>
                <a:spcBef>
                  <a:spcPct val="0"/>
                </a:spcBef>
                <a:spcAft>
                  <a:spcPct val="35000"/>
                </a:spcAft>
              </a:pPr>
              <a:r>
                <a:rPr lang="en-US" sz="1500" b="0" i="0" kern="1200" dirty="0"/>
                <a:t>Easily build and consume Cloud APIs</a:t>
              </a:r>
              <a:endParaRPr lang="en-US" sz="1500" kern="1200" dirty="0"/>
            </a:p>
          </p:txBody>
        </p:sp>
        <p:sp>
          <p:nvSpPr>
            <p:cNvPr id="25" name="Freeform 24"/>
            <p:cNvSpPr/>
            <p:nvPr/>
          </p:nvSpPr>
          <p:spPr>
            <a:xfrm>
              <a:off x="2109943" y="5512658"/>
              <a:ext cx="4289379" cy="846360"/>
            </a:xfrm>
            <a:custGeom>
              <a:avLst/>
              <a:gdLst>
                <a:gd name="connsiteX0" fmla="*/ 0 w 4289379"/>
                <a:gd name="connsiteY0" fmla="*/ 0 h 846360"/>
                <a:gd name="connsiteX1" fmla="*/ 4289379 w 4289379"/>
                <a:gd name="connsiteY1" fmla="*/ 0 h 846360"/>
                <a:gd name="connsiteX2" fmla="*/ 4289379 w 4289379"/>
                <a:gd name="connsiteY2" fmla="*/ 846360 h 846360"/>
                <a:gd name="connsiteX3" fmla="*/ 0 w 4289379"/>
                <a:gd name="connsiteY3" fmla="*/ 846360 h 846360"/>
                <a:gd name="connsiteX4" fmla="*/ 0 w 4289379"/>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9379" h="846360">
                  <a:moveTo>
                    <a:pt x="0" y="0"/>
                  </a:moveTo>
                  <a:lnTo>
                    <a:pt x="4289379" y="0"/>
                  </a:lnTo>
                  <a:lnTo>
                    <a:pt x="4289379"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2000" kern="1200" dirty="0"/>
                <a:t>Content Delivery Network</a:t>
              </a:r>
            </a:p>
          </p:txBody>
        </p:sp>
        <p:sp>
          <p:nvSpPr>
            <p:cNvPr id="26" name="Freeform 25"/>
            <p:cNvSpPr/>
            <p:nvPr/>
          </p:nvSpPr>
          <p:spPr>
            <a:xfrm>
              <a:off x="6954535" y="5512658"/>
              <a:ext cx="4918597" cy="846360"/>
            </a:xfrm>
            <a:custGeom>
              <a:avLst/>
              <a:gdLst>
                <a:gd name="connsiteX0" fmla="*/ 0 w 2776063"/>
                <a:gd name="connsiteY0" fmla="*/ 0 h 846360"/>
                <a:gd name="connsiteX1" fmla="*/ 2776063 w 2776063"/>
                <a:gd name="connsiteY1" fmla="*/ 0 h 846360"/>
                <a:gd name="connsiteX2" fmla="*/ 2776063 w 2776063"/>
                <a:gd name="connsiteY2" fmla="*/ 846360 h 846360"/>
                <a:gd name="connsiteX3" fmla="*/ 0 w 2776063"/>
                <a:gd name="connsiteY3" fmla="*/ 846360 h 846360"/>
                <a:gd name="connsiteX4" fmla="*/ 0 w 2776063"/>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6063" h="846360">
                  <a:moveTo>
                    <a:pt x="0" y="0"/>
                  </a:moveTo>
                  <a:lnTo>
                    <a:pt x="2776063" y="0"/>
                  </a:lnTo>
                  <a:lnTo>
                    <a:pt x="2776063"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795" tIns="10795" rIns="10795" bIns="10795" numCol="1" spcCol="1270" anchor="ctr" anchorCtr="0">
              <a:noAutofit/>
            </a:bodyPr>
            <a:lstStyle/>
            <a:p>
              <a:pPr lvl="0" algn="just" defTabSz="755650">
                <a:lnSpc>
                  <a:spcPct val="90000"/>
                </a:lnSpc>
                <a:spcBef>
                  <a:spcPct val="0"/>
                </a:spcBef>
                <a:spcAft>
                  <a:spcPct val="35000"/>
                </a:spcAft>
              </a:pPr>
              <a:r>
                <a:rPr lang="en-US" sz="1500" b="0" i="0" kern="1200" dirty="0"/>
                <a:t>Ensure secure, reliable content delivery with broad global reach</a:t>
              </a:r>
              <a:endParaRPr lang="en-US" sz="1500" kern="1200" dirty="0"/>
            </a:p>
          </p:txBody>
        </p:sp>
      </p:grpSp>
    </p:spTree>
    <p:extLst>
      <p:ext uri="{BB962C8B-B14F-4D97-AF65-F5344CB8AC3E}">
        <p14:creationId xmlns:p14="http://schemas.microsoft.com/office/powerpoint/2010/main" val="13396111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327257"/>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Microsoft Azure</a:t>
            </a:r>
          </a:p>
        </p:txBody>
      </p:sp>
      <p:sp>
        <p:nvSpPr>
          <p:cNvPr id="5" name="TextBox 4">
            <a:extLst>
              <a:ext uri="{FF2B5EF4-FFF2-40B4-BE49-F238E27FC236}">
                <a16:creationId xmlns:a16="http://schemas.microsoft.com/office/drawing/2014/main" id="{DE21B9F9-9725-409F-8A2A-AD1D32E00B20}"/>
              </a:ext>
            </a:extLst>
          </p:cNvPr>
          <p:cNvSpPr txBox="1"/>
          <p:nvPr/>
        </p:nvSpPr>
        <p:spPr>
          <a:xfrm>
            <a:off x="421907" y="1410355"/>
            <a:ext cx="8057949" cy="5447645"/>
          </a:xfrm>
          <a:prstGeom prst="rect">
            <a:avLst/>
          </a:prstGeom>
          <a:noFill/>
        </p:spPr>
        <p:txBody>
          <a:bodyPr wrap="square" rtlCol="0">
            <a:spAutoFit/>
          </a:bodyPr>
          <a:lstStyle/>
          <a:p>
            <a:pPr marL="342900" indent="-342900" algn="just">
              <a:lnSpc>
                <a:spcPct val="150000"/>
              </a:lnSpc>
              <a:buFont typeface="Arial" panose="020B0604020202020204" pitchFamily="34" charset="0"/>
              <a:buChar char="•"/>
            </a:pPr>
            <a:r>
              <a:rPr lang="en-US" sz="2400" dirty="0"/>
              <a:t>Microsoft Azure is a comprehensive cloud platform that enables solutions based on individual challenges and needs - with the benefits of a public cloud service.</a:t>
            </a:r>
          </a:p>
          <a:p>
            <a:pPr marL="342900" indent="-342900" algn="just">
              <a:lnSpc>
                <a:spcPct val="150000"/>
              </a:lnSpc>
              <a:buFont typeface="Arial" panose="020B0604020202020204" pitchFamily="34" charset="0"/>
              <a:buChar char="•"/>
            </a:pPr>
            <a:r>
              <a:rPr lang="en-US" sz="2400" dirty="0"/>
              <a:t>Azure can be described as a growing collection of integrated cloud services that developers and IT professionals can use to build, deploy, and manage applications through a global network of datacenters. </a:t>
            </a:r>
          </a:p>
          <a:p>
            <a:pPr marL="342900" indent="-342900">
              <a:buFont typeface="Arial" panose="020B0604020202020204" pitchFamily="34" charset="0"/>
              <a:buChar char="•"/>
            </a:pPr>
            <a:endParaRPr lang="en-US" sz="2400" dirty="0"/>
          </a:p>
        </p:txBody>
      </p:sp>
      <p:sp>
        <p:nvSpPr>
          <p:cNvPr id="3" name="AutoShape 4" descr="Image result for Microsoft Azure">
            <a:extLst>
              <a:ext uri="{FF2B5EF4-FFF2-40B4-BE49-F238E27FC236}">
                <a16:creationId xmlns:a16="http://schemas.microsoft.com/office/drawing/2014/main" id="{22936C06-2E22-482B-9048-FF93A278CC2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 name="Picture 5">
            <a:extLst>
              <a:ext uri="{FF2B5EF4-FFF2-40B4-BE49-F238E27FC236}">
                <a16:creationId xmlns:a16="http://schemas.microsoft.com/office/drawing/2014/main" id="{9D75CAB1-E2D3-4419-9CEB-9CA848839405}"/>
              </a:ext>
            </a:extLst>
          </p:cNvPr>
          <p:cNvPicPr>
            <a:picLocks noChangeAspect="1"/>
          </p:cNvPicPr>
          <p:nvPr/>
        </p:nvPicPr>
        <p:blipFill>
          <a:blip r:embed="rId3"/>
          <a:stretch>
            <a:fillRect/>
          </a:stretch>
        </p:blipFill>
        <p:spPr>
          <a:xfrm>
            <a:off x="8729446" y="2343904"/>
            <a:ext cx="3462554" cy="2170192"/>
          </a:xfrm>
          <a:prstGeom prst="rect">
            <a:avLst/>
          </a:prstGeom>
        </p:spPr>
      </p:pic>
    </p:spTree>
    <p:extLst>
      <p:ext uri="{BB962C8B-B14F-4D97-AF65-F5344CB8AC3E}">
        <p14:creationId xmlns:p14="http://schemas.microsoft.com/office/powerpoint/2010/main" val="40255098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327257"/>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Azure Security</a:t>
            </a:r>
          </a:p>
        </p:txBody>
      </p:sp>
      <p:sp>
        <p:nvSpPr>
          <p:cNvPr id="3" name="AutoShape 4" descr="Image result for Microsoft Azure">
            <a:extLst>
              <a:ext uri="{FF2B5EF4-FFF2-40B4-BE49-F238E27FC236}">
                <a16:creationId xmlns:a16="http://schemas.microsoft.com/office/drawing/2014/main" id="{22936C06-2E22-482B-9048-FF93A278CC2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5" name="Group 4"/>
          <p:cNvGrpSpPr/>
          <p:nvPr/>
        </p:nvGrpSpPr>
        <p:grpSpPr>
          <a:xfrm>
            <a:off x="590284" y="1280854"/>
            <a:ext cx="11085901" cy="5078164"/>
            <a:chOff x="590284" y="1280854"/>
            <a:chExt cx="11085901" cy="5078164"/>
          </a:xfrm>
        </p:grpSpPr>
        <p:sp>
          <p:nvSpPr>
            <p:cNvPr id="6" name="Freeform 5"/>
            <p:cNvSpPr/>
            <p:nvPr/>
          </p:nvSpPr>
          <p:spPr>
            <a:xfrm>
              <a:off x="5915462" y="5890119"/>
              <a:ext cx="555212" cy="91440"/>
            </a:xfrm>
            <a:custGeom>
              <a:avLst/>
              <a:gdLst>
                <a:gd name="connsiteX0" fmla="*/ 0 w 555212"/>
                <a:gd name="connsiteY0" fmla="*/ 45720 h 91440"/>
                <a:gd name="connsiteX1" fmla="*/ 555212 w 555212"/>
                <a:gd name="connsiteY1" fmla="*/ 45720 h 91440"/>
              </a:gdLst>
              <a:ahLst/>
              <a:cxnLst>
                <a:cxn ang="0">
                  <a:pos x="connsiteX0" y="connsiteY0"/>
                </a:cxn>
                <a:cxn ang="0">
                  <a:pos x="connsiteX1" y="connsiteY1"/>
                </a:cxn>
              </a:cxnLst>
              <a:rect l="l" t="t" r="r" b="b"/>
              <a:pathLst>
                <a:path w="555212" h="91440">
                  <a:moveTo>
                    <a:pt x="0" y="45720"/>
                  </a:moveTo>
                  <a:lnTo>
                    <a:pt x="555212"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76426" tIns="31839" rIns="276426" bIns="31841" numCol="1" spcCol="1270" anchor="ctr" anchorCtr="0">
              <a:noAutofit/>
            </a:bodyPr>
            <a:lstStyle/>
            <a:p>
              <a:pPr lvl="0" algn="ctr" defTabSz="222250">
                <a:lnSpc>
                  <a:spcPct val="90000"/>
                </a:lnSpc>
                <a:spcBef>
                  <a:spcPct val="0"/>
                </a:spcBef>
                <a:spcAft>
                  <a:spcPct val="35000"/>
                </a:spcAft>
              </a:pPr>
              <a:endParaRPr lang="en-US" sz="500" kern="1200"/>
            </a:p>
          </p:txBody>
        </p:sp>
        <p:sp>
          <p:nvSpPr>
            <p:cNvPr id="7" name="Freeform 6"/>
            <p:cNvSpPr/>
            <p:nvPr/>
          </p:nvSpPr>
          <p:spPr>
            <a:xfrm>
              <a:off x="1436644" y="3819937"/>
              <a:ext cx="555212" cy="2115902"/>
            </a:xfrm>
            <a:custGeom>
              <a:avLst/>
              <a:gdLst>
                <a:gd name="connsiteX0" fmla="*/ 0 w 555212"/>
                <a:gd name="connsiteY0" fmla="*/ 0 h 2115902"/>
                <a:gd name="connsiteX1" fmla="*/ 277606 w 555212"/>
                <a:gd name="connsiteY1" fmla="*/ 0 h 2115902"/>
                <a:gd name="connsiteX2" fmla="*/ 277606 w 555212"/>
                <a:gd name="connsiteY2" fmla="*/ 2115902 h 2115902"/>
                <a:gd name="connsiteX3" fmla="*/ 555212 w 555212"/>
                <a:gd name="connsiteY3" fmla="*/ 2115902 h 2115902"/>
              </a:gdLst>
              <a:ahLst/>
              <a:cxnLst>
                <a:cxn ang="0">
                  <a:pos x="connsiteX0" y="connsiteY0"/>
                </a:cxn>
                <a:cxn ang="0">
                  <a:pos x="connsiteX1" y="connsiteY1"/>
                </a:cxn>
                <a:cxn ang="0">
                  <a:pos x="connsiteX2" y="connsiteY2"/>
                </a:cxn>
                <a:cxn ang="0">
                  <a:pos x="connsiteX3" y="connsiteY3"/>
                </a:cxn>
              </a:cxnLst>
              <a:rect l="l" t="t" r="r" b="b"/>
              <a:pathLst>
                <a:path w="555212" h="2115902">
                  <a:moveTo>
                    <a:pt x="0" y="0"/>
                  </a:moveTo>
                  <a:lnTo>
                    <a:pt x="277606" y="0"/>
                  </a:lnTo>
                  <a:lnTo>
                    <a:pt x="277606" y="2115902"/>
                  </a:lnTo>
                  <a:lnTo>
                    <a:pt x="555212" y="2115902"/>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5618" tIns="1003262" rIns="235618" bIns="1003264" numCol="1" spcCol="1270" anchor="ctr" anchorCtr="0">
              <a:noAutofit/>
            </a:bodyPr>
            <a:lstStyle/>
            <a:p>
              <a:pPr lvl="0" algn="ctr" defTabSz="311150">
                <a:lnSpc>
                  <a:spcPct val="90000"/>
                </a:lnSpc>
                <a:spcBef>
                  <a:spcPct val="0"/>
                </a:spcBef>
                <a:spcAft>
                  <a:spcPct val="35000"/>
                </a:spcAft>
              </a:pPr>
              <a:endParaRPr lang="en-US" sz="700" kern="1200"/>
            </a:p>
          </p:txBody>
        </p:sp>
        <p:sp>
          <p:nvSpPr>
            <p:cNvPr id="8" name="Freeform 7"/>
            <p:cNvSpPr/>
            <p:nvPr/>
          </p:nvSpPr>
          <p:spPr>
            <a:xfrm>
              <a:off x="5915462" y="4832168"/>
              <a:ext cx="555212" cy="91440"/>
            </a:xfrm>
            <a:custGeom>
              <a:avLst/>
              <a:gdLst>
                <a:gd name="connsiteX0" fmla="*/ 0 w 555212"/>
                <a:gd name="connsiteY0" fmla="*/ 45720 h 91440"/>
                <a:gd name="connsiteX1" fmla="*/ 555212 w 555212"/>
                <a:gd name="connsiteY1" fmla="*/ 45720 h 91440"/>
              </a:gdLst>
              <a:ahLst/>
              <a:cxnLst>
                <a:cxn ang="0">
                  <a:pos x="connsiteX0" y="connsiteY0"/>
                </a:cxn>
                <a:cxn ang="0">
                  <a:pos x="connsiteX1" y="connsiteY1"/>
                </a:cxn>
              </a:cxnLst>
              <a:rect l="l" t="t" r="r" b="b"/>
              <a:pathLst>
                <a:path w="555212" h="91440">
                  <a:moveTo>
                    <a:pt x="0" y="45720"/>
                  </a:moveTo>
                  <a:lnTo>
                    <a:pt x="555212"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76426" tIns="31839" rIns="276426" bIns="31841" numCol="1" spcCol="1270" anchor="ctr" anchorCtr="0">
              <a:noAutofit/>
            </a:bodyPr>
            <a:lstStyle/>
            <a:p>
              <a:pPr lvl="0" algn="ctr" defTabSz="222250">
                <a:lnSpc>
                  <a:spcPct val="90000"/>
                </a:lnSpc>
                <a:spcBef>
                  <a:spcPct val="0"/>
                </a:spcBef>
                <a:spcAft>
                  <a:spcPct val="35000"/>
                </a:spcAft>
              </a:pPr>
              <a:endParaRPr lang="en-US" sz="500" kern="1200"/>
            </a:p>
          </p:txBody>
        </p:sp>
        <p:sp>
          <p:nvSpPr>
            <p:cNvPr id="9" name="Freeform 8"/>
            <p:cNvSpPr/>
            <p:nvPr/>
          </p:nvSpPr>
          <p:spPr>
            <a:xfrm>
              <a:off x="1436644" y="3819937"/>
              <a:ext cx="555212" cy="1057951"/>
            </a:xfrm>
            <a:custGeom>
              <a:avLst/>
              <a:gdLst>
                <a:gd name="connsiteX0" fmla="*/ 0 w 555212"/>
                <a:gd name="connsiteY0" fmla="*/ 0 h 1057951"/>
                <a:gd name="connsiteX1" fmla="*/ 277606 w 555212"/>
                <a:gd name="connsiteY1" fmla="*/ 0 h 1057951"/>
                <a:gd name="connsiteX2" fmla="*/ 277606 w 555212"/>
                <a:gd name="connsiteY2" fmla="*/ 1057951 h 1057951"/>
                <a:gd name="connsiteX3" fmla="*/ 555212 w 555212"/>
                <a:gd name="connsiteY3" fmla="*/ 1057951 h 1057951"/>
              </a:gdLst>
              <a:ahLst/>
              <a:cxnLst>
                <a:cxn ang="0">
                  <a:pos x="connsiteX0" y="connsiteY0"/>
                </a:cxn>
                <a:cxn ang="0">
                  <a:pos x="connsiteX1" y="connsiteY1"/>
                </a:cxn>
                <a:cxn ang="0">
                  <a:pos x="connsiteX2" y="connsiteY2"/>
                </a:cxn>
                <a:cxn ang="0">
                  <a:pos x="connsiteX3" y="connsiteY3"/>
                </a:cxn>
              </a:cxnLst>
              <a:rect l="l" t="t" r="r" b="b"/>
              <a:pathLst>
                <a:path w="555212" h="1057951">
                  <a:moveTo>
                    <a:pt x="0" y="0"/>
                  </a:moveTo>
                  <a:lnTo>
                    <a:pt x="277606" y="0"/>
                  </a:lnTo>
                  <a:lnTo>
                    <a:pt x="277606" y="1057951"/>
                  </a:lnTo>
                  <a:lnTo>
                    <a:pt x="555212" y="1057951"/>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60437" tIns="499105" rIns="260436" bIns="499107" numCol="1" spcCol="1270" anchor="ctr" anchorCtr="0">
              <a:noAutofit/>
            </a:bodyPr>
            <a:lstStyle/>
            <a:p>
              <a:pPr lvl="0" algn="ctr" defTabSz="222250">
                <a:lnSpc>
                  <a:spcPct val="90000"/>
                </a:lnSpc>
                <a:spcBef>
                  <a:spcPct val="0"/>
                </a:spcBef>
                <a:spcAft>
                  <a:spcPct val="35000"/>
                </a:spcAft>
              </a:pPr>
              <a:endParaRPr lang="en-US" sz="500" kern="1200"/>
            </a:p>
          </p:txBody>
        </p:sp>
        <p:sp>
          <p:nvSpPr>
            <p:cNvPr id="10" name="Freeform 9"/>
            <p:cNvSpPr/>
            <p:nvPr/>
          </p:nvSpPr>
          <p:spPr>
            <a:xfrm>
              <a:off x="5915462" y="3774217"/>
              <a:ext cx="555212" cy="91440"/>
            </a:xfrm>
            <a:custGeom>
              <a:avLst/>
              <a:gdLst>
                <a:gd name="connsiteX0" fmla="*/ 0 w 555212"/>
                <a:gd name="connsiteY0" fmla="*/ 45720 h 91440"/>
                <a:gd name="connsiteX1" fmla="*/ 555212 w 555212"/>
                <a:gd name="connsiteY1" fmla="*/ 45720 h 91440"/>
              </a:gdLst>
              <a:ahLst/>
              <a:cxnLst>
                <a:cxn ang="0">
                  <a:pos x="connsiteX0" y="connsiteY0"/>
                </a:cxn>
                <a:cxn ang="0">
                  <a:pos x="connsiteX1" y="connsiteY1"/>
                </a:cxn>
              </a:cxnLst>
              <a:rect l="l" t="t" r="r" b="b"/>
              <a:pathLst>
                <a:path w="555212" h="91440">
                  <a:moveTo>
                    <a:pt x="0" y="45720"/>
                  </a:moveTo>
                  <a:lnTo>
                    <a:pt x="555212"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76426" tIns="31839" rIns="276426" bIns="31841" numCol="1" spcCol="1270" anchor="ctr" anchorCtr="0">
              <a:noAutofit/>
            </a:bodyPr>
            <a:lstStyle/>
            <a:p>
              <a:pPr lvl="0" algn="ctr" defTabSz="222250">
                <a:lnSpc>
                  <a:spcPct val="90000"/>
                </a:lnSpc>
                <a:spcBef>
                  <a:spcPct val="0"/>
                </a:spcBef>
                <a:spcAft>
                  <a:spcPct val="35000"/>
                </a:spcAft>
              </a:pPr>
              <a:endParaRPr lang="en-US" sz="500" kern="1200"/>
            </a:p>
          </p:txBody>
        </p:sp>
        <p:sp>
          <p:nvSpPr>
            <p:cNvPr id="11" name="Freeform 10"/>
            <p:cNvSpPr/>
            <p:nvPr/>
          </p:nvSpPr>
          <p:spPr>
            <a:xfrm>
              <a:off x="1436644" y="3774217"/>
              <a:ext cx="555212" cy="91440"/>
            </a:xfrm>
            <a:custGeom>
              <a:avLst/>
              <a:gdLst>
                <a:gd name="connsiteX0" fmla="*/ 0 w 555212"/>
                <a:gd name="connsiteY0" fmla="*/ 45720 h 91440"/>
                <a:gd name="connsiteX1" fmla="*/ 555212 w 555212"/>
                <a:gd name="connsiteY1" fmla="*/ 45720 h 91440"/>
              </a:gdLst>
              <a:ahLst/>
              <a:cxnLst>
                <a:cxn ang="0">
                  <a:pos x="connsiteX0" y="connsiteY0"/>
                </a:cxn>
                <a:cxn ang="0">
                  <a:pos x="connsiteX1" y="connsiteY1"/>
                </a:cxn>
              </a:cxnLst>
              <a:rect l="l" t="t" r="r" b="b"/>
              <a:pathLst>
                <a:path w="555212" h="91440">
                  <a:moveTo>
                    <a:pt x="0" y="45720"/>
                  </a:moveTo>
                  <a:lnTo>
                    <a:pt x="555212" y="4572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76426" tIns="31839" rIns="276426" bIns="31841" numCol="1" spcCol="1270" anchor="ctr" anchorCtr="0">
              <a:noAutofit/>
            </a:bodyPr>
            <a:lstStyle/>
            <a:p>
              <a:pPr lvl="0" algn="ctr" defTabSz="222250">
                <a:lnSpc>
                  <a:spcPct val="90000"/>
                </a:lnSpc>
                <a:spcBef>
                  <a:spcPct val="0"/>
                </a:spcBef>
                <a:spcAft>
                  <a:spcPct val="35000"/>
                </a:spcAft>
              </a:pPr>
              <a:endParaRPr lang="en-US" sz="500" kern="1200"/>
            </a:p>
          </p:txBody>
        </p:sp>
        <p:sp>
          <p:nvSpPr>
            <p:cNvPr id="12" name="Freeform 11"/>
            <p:cNvSpPr/>
            <p:nvPr/>
          </p:nvSpPr>
          <p:spPr>
            <a:xfrm>
              <a:off x="5915462" y="2716265"/>
              <a:ext cx="555212" cy="91440"/>
            </a:xfrm>
            <a:custGeom>
              <a:avLst/>
              <a:gdLst>
                <a:gd name="connsiteX0" fmla="*/ 0 w 555212"/>
                <a:gd name="connsiteY0" fmla="*/ 45720 h 91440"/>
                <a:gd name="connsiteX1" fmla="*/ 555212 w 555212"/>
                <a:gd name="connsiteY1" fmla="*/ 45720 h 91440"/>
              </a:gdLst>
              <a:ahLst/>
              <a:cxnLst>
                <a:cxn ang="0">
                  <a:pos x="connsiteX0" y="connsiteY0"/>
                </a:cxn>
                <a:cxn ang="0">
                  <a:pos x="connsiteX1" y="connsiteY1"/>
                </a:cxn>
              </a:cxnLst>
              <a:rect l="l" t="t" r="r" b="b"/>
              <a:pathLst>
                <a:path w="555212" h="91440">
                  <a:moveTo>
                    <a:pt x="0" y="45720"/>
                  </a:moveTo>
                  <a:lnTo>
                    <a:pt x="555212"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76426" tIns="31840" rIns="276426" bIns="31840" numCol="1" spcCol="1270" anchor="ctr" anchorCtr="0">
              <a:noAutofit/>
            </a:bodyPr>
            <a:lstStyle/>
            <a:p>
              <a:pPr lvl="0" algn="ctr" defTabSz="222250">
                <a:lnSpc>
                  <a:spcPct val="90000"/>
                </a:lnSpc>
                <a:spcBef>
                  <a:spcPct val="0"/>
                </a:spcBef>
                <a:spcAft>
                  <a:spcPct val="35000"/>
                </a:spcAft>
              </a:pPr>
              <a:endParaRPr lang="en-US" sz="500" kern="1200"/>
            </a:p>
          </p:txBody>
        </p:sp>
        <p:sp>
          <p:nvSpPr>
            <p:cNvPr id="13" name="Freeform 12"/>
            <p:cNvSpPr/>
            <p:nvPr/>
          </p:nvSpPr>
          <p:spPr>
            <a:xfrm>
              <a:off x="1436644" y="2761985"/>
              <a:ext cx="555212" cy="1057951"/>
            </a:xfrm>
            <a:custGeom>
              <a:avLst/>
              <a:gdLst>
                <a:gd name="connsiteX0" fmla="*/ 0 w 555212"/>
                <a:gd name="connsiteY0" fmla="*/ 1057951 h 1057951"/>
                <a:gd name="connsiteX1" fmla="*/ 277606 w 555212"/>
                <a:gd name="connsiteY1" fmla="*/ 1057951 h 1057951"/>
                <a:gd name="connsiteX2" fmla="*/ 277606 w 555212"/>
                <a:gd name="connsiteY2" fmla="*/ 0 h 1057951"/>
                <a:gd name="connsiteX3" fmla="*/ 555212 w 555212"/>
                <a:gd name="connsiteY3" fmla="*/ 0 h 1057951"/>
              </a:gdLst>
              <a:ahLst/>
              <a:cxnLst>
                <a:cxn ang="0">
                  <a:pos x="connsiteX0" y="connsiteY0"/>
                </a:cxn>
                <a:cxn ang="0">
                  <a:pos x="connsiteX1" y="connsiteY1"/>
                </a:cxn>
                <a:cxn ang="0">
                  <a:pos x="connsiteX2" y="connsiteY2"/>
                </a:cxn>
                <a:cxn ang="0">
                  <a:pos x="connsiteX3" y="connsiteY3"/>
                </a:cxn>
              </a:cxnLst>
              <a:rect l="l" t="t" r="r" b="b"/>
              <a:pathLst>
                <a:path w="555212" h="1057951">
                  <a:moveTo>
                    <a:pt x="0" y="1057951"/>
                  </a:moveTo>
                  <a:lnTo>
                    <a:pt x="277606" y="1057951"/>
                  </a:lnTo>
                  <a:lnTo>
                    <a:pt x="277606" y="0"/>
                  </a:lnTo>
                  <a:lnTo>
                    <a:pt x="555212" y="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60437" tIns="499106" rIns="260436" bIns="499106" numCol="1" spcCol="1270" anchor="ctr" anchorCtr="0">
              <a:noAutofit/>
            </a:bodyPr>
            <a:lstStyle/>
            <a:p>
              <a:pPr lvl="0" algn="ctr" defTabSz="222250">
                <a:lnSpc>
                  <a:spcPct val="90000"/>
                </a:lnSpc>
                <a:spcBef>
                  <a:spcPct val="0"/>
                </a:spcBef>
                <a:spcAft>
                  <a:spcPct val="35000"/>
                </a:spcAft>
              </a:pPr>
              <a:endParaRPr lang="en-US" sz="500" kern="1200"/>
            </a:p>
          </p:txBody>
        </p:sp>
        <p:sp>
          <p:nvSpPr>
            <p:cNvPr id="14" name="Freeform 13"/>
            <p:cNvSpPr/>
            <p:nvPr/>
          </p:nvSpPr>
          <p:spPr>
            <a:xfrm>
              <a:off x="5915462" y="1658314"/>
              <a:ext cx="555212" cy="91440"/>
            </a:xfrm>
            <a:custGeom>
              <a:avLst/>
              <a:gdLst>
                <a:gd name="connsiteX0" fmla="*/ 0 w 555212"/>
                <a:gd name="connsiteY0" fmla="*/ 45720 h 91440"/>
                <a:gd name="connsiteX1" fmla="*/ 555212 w 555212"/>
                <a:gd name="connsiteY1" fmla="*/ 45720 h 91440"/>
              </a:gdLst>
              <a:ahLst/>
              <a:cxnLst>
                <a:cxn ang="0">
                  <a:pos x="connsiteX0" y="connsiteY0"/>
                </a:cxn>
                <a:cxn ang="0">
                  <a:pos x="connsiteX1" y="connsiteY1"/>
                </a:cxn>
              </a:cxnLst>
              <a:rect l="l" t="t" r="r" b="b"/>
              <a:pathLst>
                <a:path w="555212" h="91440">
                  <a:moveTo>
                    <a:pt x="0" y="45720"/>
                  </a:moveTo>
                  <a:lnTo>
                    <a:pt x="555212" y="45720"/>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76426" tIns="31840" rIns="276426" bIns="31840" numCol="1" spcCol="1270" anchor="ctr" anchorCtr="0">
              <a:noAutofit/>
            </a:bodyPr>
            <a:lstStyle/>
            <a:p>
              <a:pPr lvl="0" algn="ctr" defTabSz="222250">
                <a:lnSpc>
                  <a:spcPct val="90000"/>
                </a:lnSpc>
                <a:spcBef>
                  <a:spcPct val="0"/>
                </a:spcBef>
                <a:spcAft>
                  <a:spcPct val="35000"/>
                </a:spcAft>
              </a:pPr>
              <a:endParaRPr lang="en-US" sz="500" kern="1200"/>
            </a:p>
          </p:txBody>
        </p:sp>
        <p:sp>
          <p:nvSpPr>
            <p:cNvPr id="15" name="Freeform 14"/>
            <p:cNvSpPr/>
            <p:nvPr/>
          </p:nvSpPr>
          <p:spPr>
            <a:xfrm>
              <a:off x="1436644" y="1704034"/>
              <a:ext cx="555212" cy="2115902"/>
            </a:xfrm>
            <a:custGeom>
              <a:avLst/>
              <a:gdLst>
                <a:gd name="connsiteX0" fmla="*/ 0 w 555212"/>
                <a:gd name="connsiteY0" fmla="*/ 2115902 h 2115902"/>
                <a:gd name="connsiteX1" fmla="*/ 277606 w 555212"/>
                <a:gd name="connsiteY1" fmla="*/ 2115902 h 2115902"/>
                <a:gd name="connsiteX2" fmla="*/ 277606 w 555212"/>
                <a:gd name="connsiteY2" fmla="*/ 0 h 2115902"/>
                <a:gd name="connsiteX3" fmla="*/ 555212 w 555212"/>
                <a:gd name="connsiteY3" fmla="*/ 0 h 2115902"/>
              </a:gdLst>
              <a:ahLst/>
              <a:cxnLst>
                <a:cxn ang="0">
                  <a:pos x="connsiteX0" y="connsiteY0"/>
                </a:cxn>
                <a:cxn ang="0">
                  <a:pos x="connsiteX1" y="connsiteY1"/>
                </a:cxn>
                <a:cxn ang="0">
                  <a:pos x="connsiteX2" y="connsiteY2"/>
                </a:cxn>
                <a:cxn ang="0">
                  <a:pos x="connsiteX3" y="connsiteY3"/>
                </a:cxn>
              </a:cxnLst>
              <a:rect l="l" t="t" r="r" b="b"/>
              <a:pathLst>
                <a:path w="555212" h="2115902">
                  <a:moveTo>
                    <a:pt x="0" y="2115902"/>
                  </a:moveTo>
                  <a:lnTo>
                    <a:pt x="277606" y="2115902"/>
                  </a:lnTo>
                  <a:lnTo>
                    <a:pt x="277606" y="0"/>
                  </a:lnTo>
                  <a:lnTo>
                    <a:pt x="555212" y="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5618" tIns="1003263" rIns="235618" bIns="1003263" numCol="1" spcCol="1270" anchor="ctr" anchorCtr="0">
              <a:noAutofit/>
            </a:bodyPr>
            <a:lstStyle/>
            <a:p>
              <a:pPr lvl="0" algn="ctr" defTabSz="311150">
                <a:lnSpc>
                  <a:spcPct val="90000"/>
                </a:lnSpc>
                <a:spcBef>
                  <a:spcPct val="0"/>
                </a:spcBef>
                <a:spcAft>
                  <a:spcPct val="35000"/>
                </a:spcAft>
              </a:pPr>
              <a:endParaRPr lang="en-US" sz="700" kern="1200"/>
            </a:p>
          </p:txBody>
        </p:sp>
        <p:sp>
          <p:nvSpPr>
            <p:cNvPr id="16" name="Freeform 15"/>
            <p:cNvSpPr/>
            <p:nvPr/>
          </p:nvSpPr>
          <p:spPr>
            <a:xfrm rot="16200000">
              <a:off x="-1213801" y="3396756"/>
              <a:ext cx="4454530" cy="846360"/>
            </a:xfrm>
            <a:custGeom>
              <a:avLst/>
              <a:gdLst>
                <a:gd name="connsiteX0" fmla="*/ 0 w 4454530"/>
                <a:gd name="connsiteY0" fmla="*/ 0 h 846360"/>
                <a:gd name="connsiteX1" fmla="*/ 4454530 w 4454530"/>
                <a:gd name="connsiteY1" fmla="*/ 0 h 846360"/>
                <a:gd name="connsiteX2" fmla="*/ 4454530 w 4454530"/>
                <a:gd name="connsiteY2" fmla="*/ 846360 h 846360"/>
                <a:gd name="connsiteX3" fmla="*/ 0 w 4454530"/>
                <a:gd name="connsiteY3" fmla="*/ 846360 h 846360"/>
                <a:gd name="connsiteX4" fmla="*/ 0 w 4454530"/>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4530" h="846360">
                  <a:moveTo>
                    <a:pt x="0" y="0"/>
                  </a:moveTo>
                  <a:lnTo>
                    <a:pt x="4454530" y="0"/>
                  </a:lnTo>
                  <a:lnTo>
                    <a:pt x="4454530"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4000" kern="1200" dirty="0"/>
                <a:t>Security</a:t>
              </a:r>
            </a:p>
          </p:txBody>
        </p:sp>
        <p:sp>
          <p:nvSpPr>
            <p:cNvPr id="17" name="Freeform 16"/>
            <p:cNvSpPr/>
            <p:nvPr/>
          </p:nvSpPr>
          <p:spPr>
            <a:xfrm>
              <a:off x="1991857" y="1280854"/>
              <a:ext cx="3923604" cy="846360"/>
            </a:xfrm>
            <a:custGeom>
              <a:avLst/>
              <a:gdLst>
                <a:gd name="connsiteX0" fmla="*/ 0 w 3923604"/>
                <a:gd name="connsiteY0" fmla="*/ 0 h 846360"/>
                <a:gd name="connsiteX1" fmla="*/ 3923604 w 3923604"/>
                <a:gd name="connsiteY1" fmla="*/ 0 h 846360"/>
                <a:gd name="connsiteX2" fmla="*/ 3923604 w 3923604"/>
                <a:gd name="connsiteY2" fmla="*/ 846360 h 846360"/>
                <a:gd name="connsiteX3" fmla="*/ 0 w 3923604"/>
                <a:gd name="connsiteY3" fmla="*/ 846360 h 846360"/>
                <a:gd name="connsiteX4" fmla="*/ 0 w 3923604"/>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3604" h="846360">
                  <a:moveTo>
                    <a:pt x="0" y="0"/>
                  </a:moveTo>
                  <a:lnTo>
                    <a:pt x="3923604" y="0"/>
                  </a:lnTo>
                  <a:lnTo>
                    <a:pt x="3923604"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a:t>Azure AD</a:t>
              </a:r>
            </a:p>
          </p:txBody>
        </p:sp>
        <p:sp>
          <p:nvSpPr>
            <p:cNvPr id="18" name="Freeform 17"/>
            <p:cNvSpPr/>
            <p:nvPr/>
          </p:nvSpPr>
          <p:spPr>
            <a:xfrm>
              <a:off x="6470674" y="1280854"/>
              <a:ext cx="5205511" cy="846360"/>
            </a:xfrm>
            <a:custGeom>
              <a:avLst/>
              <a:gdLst>
                <a:gd name="connsiteX0" fmla="*/ 0 w 2776063"/>
                <a:gd name="connsiteY0" fmla="*/ 0 h 846360"/>
                <a:gd name="connsiteX1" fmla="*/ 2776063 w 2776063"/>
                <a:gd name="connsiteY1" fmla="*/ 0 h 846360"/>
                <a:gd name="connsiteX2" fmla="*/ 2776063 w 2776063"/>
                <a:gd name="connsiteY2" fmla="*/ 846360 h 846360"/>
                <a:gd name="connsiteX3" fmla="*/ 0 w 2776063"/>
                <a:gd name="connsiteY3" fmla="*/ 846360 h 846360"/>
                <a:gd name="connsiteX4" fmla="*/ 0 w 2776063"/>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6063" h="846360">
                  <a:moveTo>
                    <a:pt x="0" y="0"/>
                  </a:moveTo>
                  <a:lnTo>
                    <a:pt x="2776063" y="0"/>
                  </a:lnTo>
                  <a:lnTo>
                    <a:pt x="2776063"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just" defTabSz="622300">
                <a:lnSpc>
                  <a:spcPct val="90000"/>
                </a:lnSpc>
                <a:spcBef>
                  <a:spcPct val="0"/>
                </a:spcBef>
                <a:spcAft>
                  <a:spcPct val="35000"/>
                </a:spcAft>
              </a:pPr>
              <a:r>
                <a:rPr lang="en-US" sz="1500" b="0" i="0" kern="1200" dirty="0"/>
                <a:t>Synchronize on-premises directories and enable single sign-on</a:t>
              </a:r>
              <a:endParaRPr lang="en-US" sz="1500" kern="1200" dirty="0"/>
            </a:p>
          </p:txBody>
        </p:sp>
        <p:sp>
          <p:nvSpPr>
            <p:cNvPr id="19" name="Freeform 18"/>
            <p:cNvSpPr/>
            <p:nvPr/>
          </p:nvSpPr>
          <p:spPr>
            <a:xfrm>
              <a:off x="1991857" y="2338805"/>
              <a:ext cx="3923604" cy="846360"/>
            </a:xfrm>
            <a:custGeom>
              <a:avLst/>
              <a:gdLst>
                <a:gd name="connsiteX0" fmla="*/ 0 w 3923604"/>
                <a:gd name="connsiteY0" fmla="*/ 0 h 846360"/>
                <a:gd name="connsiteX1" fmla="*/ 3923604 w 3923604"/>
                <a:gd name="connsiteY1" fmla="*/ 0 h 846360"/>
                <a:gd name="connsiteX2" fmla="*/ 3923604 w 3923604"/>
                <a:gd name="connsiteY2" fmla="*/ 846360 h 846360"/>
                <a:gd name="connsiteX3" fmla="*/ 0 w 3923604"/>
                <a:gd name="connsiteY3" fmla="*/ 846360 h 846360"/>
                <a:gd name="connsiteX4" fmla="*/ 0 w 3923604"/>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3604" h="846360">
                  <a:moveTo>
                    <a:pt x="0" y="0"/>
                  </a:moveTo>
                  <a:lnTo>
                    <a:pt x="3923604" y="0"/>
                  </a:lnTo>
                  <a:lnTo>
                    <a:pt x="3923604"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a:t>Key Vault</a:t>
              </a:r>
            </a:p>
          </p:txBody>
        </p:sp>
        <p:sp>
          <p:nvSpPr>
            <p:cNvPr id="20" name="Freeform 19"/>
            <p:cNvSpPr/>
            <p:nvPr/>
          </p:nvSpPr>
          <p:spPr>
            <a:xfrm>
              <a:off x="6470674" y="2338805"/>
              <a:ext cx="5205511" cy="846360"/>
            </a:xfrm>
            <a:custGeom>
              <a:avLst/>
              <a:gdLst>
                <a:gd name="connsiteX0" fmla="*/ 0 w 2776063"/>
                <a:gd name="connsiteY0" fmla="*/ 0 h 846360"/>
                <a:gd name="connsiteX1" fmla="*/ 2776063 w 2776063"/>
                <a:gd name="connsiteY1" fmla="*/ 0 h 846360"/>
                <a:gd name="connsiteX2" fmla="*/ 2776063 w 2776063"/>
                <a:gd name="connsiteY2" fmla="*/ 846360 h 846360"/>
                <a:gd name="connsiteX3" fmla="*/ 0 w 2776063"/>
                <a:gd name="connsiteY3" fmla="*/ 846360 h 846360"/>
                <a:gd name="connsiteX4" fmla="*/ 0 w 2776063"/>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6063" h="846360">
                  <a:moveTo>
                    <a:pt x="0" y="0"/>
                  </a:moveTo>
                  <a:lnTo>
                    <a:pt x="2776063" y="0"/>
                  </a:lnTo>
                  <a:lnTo>
                    <a:pt x="2776063"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just" defTabSz="622300">
                <a:lnSpc>
                  <a:spcPct val="90000"/>
                </a:lnSpc>
                <a:spcBef>
                  <a:spcPct val="0"/>
                </a:spcBef>
                <a:spcAft>
                  <a:spcPct val="35000"/>
                </a:spcAft>
              </a:pPr>
              <a:r>
                <a:rPr lang="en-US" sz="1500" b="0" i="0" kern="1200" dirty="0"/>
                <a:t>Safeguard and maintain control of keys and other secrets</a:t>
              </a:r>
              <a:endParaRPr lang="en-US" sz="1500" kern="1200" dirty="0"/>
            </a:p>
          </p:txBody>
        </p:sp>
        <p:sp>
          <p:nvSpPr>
            <p:cNvPr id="21" name="Freeform 20"/>
            <p:cNvSpPr/>
            <p:nvPr/>
          </p:nvSpPr>
          <p:spPr>
            <a:xfrm>
              <a:off x="1991857" y="3396756"/>
              <a:ext cx="3923604" cy="846360"/>
            </a:xfrm>
            <a:custGeom>
              <a:avLst/>
              <a:gdLst>
                <a:gd name="connsiteX0" fmla="*/ 0 w 3923604"/>
                <a:gd name="connsiteY0" fmla="*/ 0 h 846360"/>
                <a:gd name="connsiteX1" fmla="*/ 3923604 w 3923604"/>
                <a:gd name="connsiteY1" fmla="*/ 0 h 846360"/>
                <a:gd name="connsiteX2" fmla="*/ 3923604 w 3923604"/>
                <a:gd name="connsiteY2" fmla="*/ 846360 h 846360"/>
                <a:gd name="connsiteX3" fmla="*/ 0 w 3923604"/>
                <a:gd name="connsiteY3" fmla="*/ 846360 h 846360"/>
                <a:gd name="connsiteX4" fmla="*/ 0 w 3923604"/>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3604" h="846360">
                  <a:moveTo>
                    <a:pt x="0" y="0"/>
                  </a:moveTo>
                  <a:lnTo>
                    <a:pt x="3923604" y="0"/>
                  </a:lnTo>
                  <a:lnTo>
                    <a:pt x="3923604"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a:t>Security Center</a:t>
              </a:r>
            </a:p>
          </p:txBody>
        </p:sp>
        <p:sp>
          <p:nvSpPr>
            <p:cNvPr id="22" name="Freeform 21"/>
            <p:cNvSpPr/>
            <p:nvPr/>
          </p:nvSpPr>
          <p:spPr>
            <a:xfrm>
              <a:off x="6470674" y="3396756"/>
              <a:ext cx="5205511" cy="846360"/>
            </a:xfrm>
            <a:custGeom>
              <a:avLst/>
              <a:gdLst>
                <a:gd name="connsiteX0" fmla="*/ 0 w 2776063"/>
                <a:gd name="connsiteY0" fmla="*/ 0 h 846360"/>
                <a:gd name="connsiteX1" fmla="*/ 2776063 w 2776063"/>
                <a:gd name="connsiteY1" fmla="*/ 0 h 846360"/>
                <a:gd name="connsiteX2" fmla="*/ 2776063 w 2776063"/>
                <a:gd name="connsiteY2" fmla="*/ 846360 h 846360"/>
                <a:gd name="connsiteX3" fmla="*/ 0 w 2776063"/>
                <a:gd name="connsiteY3" fmla="*/ 846360 h 846360"/>
                <a:gd name="connsiteX4" fmla="*/ 0 w 2776063"/>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6063" h="846360">
                  <a:moveTo>
                    <a:pt x="0" y="0"/>
                  </a:moveTo>
                  <a:lnTo>
                    <a:pt x="2776063" y="0"/>
                  </a:lnTo>
                  <a:lnTo>
                    <a:pt x="2776063"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just" defTabSz="622300">
                <a:lnSpc>
                  <a:spcPct val="90000"/>
                </a:lnSpc>
                <a:spcBef>
                  <a:spcPct val="0"/>
                </a:spcBef>
                <a:spcAft>
                  <a:spcPct val="35000"/>
                </a:spcAft>
              </a:pPr>
              <a:r>
                <a:rPr lang="en-US" sz="1500" b="0" i="0" kern="1200" dirty="0"/>
                <a:t>Unify security management and enable advanced threat protection across hybrid cloud workloads</a:t>
              </a:r>
              <a:endParaRPr lang="en-US" sz="1500" kern="1200" dirty="0"/>
            </a:p>
          </p:txBody>
        </p:sp>
        <p:sp>
          <p:nvSpPr>
            <p:cNvPr id="23" name="Freeform 22"/>
            <p:cNvSpPr/>
            <p:nvPr/>
          </p:nvSpPr>
          <p:spPr>
            <a:xfrm>
              <a:off x="1991857" y="4454707"/>
              <a:ext cx="3923604" cy="846360"/>
            </a:xfrm>
            <a:custGeom>
              <a:avLst/>
              <a:gdLst>
                <a:gd name="connsiteX0" fmla="*/ 0 w 3923604"/>
                <a:gd name="connsiteY0" fmla="*/ 0 h 846360"/>
                <a:gd name="connsiteX1" fmla="*/ 3923604 w 3923604"/>
                <a:gd name="connsiteY1" fmla="*/ 0 h 846360"/>
                <a:gd name="connsiteX2" fmla="*/ 3923604 w 3923604"/>
                <a:gd name="connsiteY2" fmla="*/ 846360 h 846360"/>
                <a:gd name="connsiteX3" fmla="*/ 0 w 3923604"/>
                <a:gd name="connsiteY3" fmla="*/ 846360 h 846360"/>
                <a:gd name="connsiteX4" fmla="*/ 0 w 3923604"/>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3604" h="846360">
                  <a:moveTo>
                    <a:pt x="0" y="0"/>
                  </a:moveTo>
                  <a:lnTo>
                    <a:pt x="3923604" y="0"/>
                  </a:lnTo>
                  <a:lnTo>
                    <a:pt x="3923604"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a:t>Azure B2C</a:t>
              </a:r>
            </a:p>
          </p:txBody>
        </p:sp>
        <p:sp>
          <p:nvSpPr>
            <p:cNvPr id="24" name="Freeform 23"/>
            <p:cNvSpPr/>
            <p:nvPr/>
          </p:nvSpPr>
          <p:spPr>
            <a:xfrm>
              <a:off x="6470674" y="4454707"/>
              <a:ext cx="5205511" cy="846360"/>
            </a:xfrm>
            <a:custGeom>
              <a:avLst/>
              <a:gdLst>
                <a:gd name="connsiteX0" fmla="*/ 0 w 2776063"/>
                <a:gd name="connsiteY0" fmla="*/ 0 h 846360"/>
                <a:gd name="connsiteX1" fmla="*/ 2776063 w 2776063"/>
                <a:gd name="connsiteY1" fmla="*/ 0 h 846360"/>
                <a:gd name="connsiteX2" fmla="*/ 2776063 w 2776063"/>
                <a:gd name="connsiteY2" fmla="*/ 846360 h 846360"/>
                <a:gd name="connsiteX3" fmla="*/ 0 w 2776063"/>
                <a:gd name="connsiteY3" fmla="*/ 846360 h 846360"/>
                <a:gd name="connsiteX4" fmla="*/ 0 w 2776063"/>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6063" h="846360">
                  <a:moveTo>
                    <a:pt x="0" y="0"/>
                  </a:moveTo>
                  <a:lnTo>
                    <a:pt x="2776063" y="0"/>
                  </a:lnTo>
                  <a:lnTo>
                    <a:pt x="2776063"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just" defTabSz="622300">
                <a:lnSpc>
                  <a:spcPct val="90000"/>
                </a:lnSpc>
                <a:spcBef>
                  <a:spcPct val="0"/>
                </a:spcBef>
                <a:spcAft>
                  <a:spcPct val="35000"/>
                </a:spcAft>
              </a:pPr>
              <a:r>
                <a:rPr lang="en-US" sz="1500" kern="1200"/>
                <a:t>Consumer identity and access management in the cloud</a:t>
              </a:r>
              <a:endParaRPr lang="en-US" sz="1500" kern="1200" dirty="0"/>
            </a:p>
          </p:txBody>
        </p:sp>
        <p:sp>
          <p:nvSpPr>
            <p:cNvPr id="25" name="Freeform 24"/>
            <p:cNvSpPr/>
            <p:nvPr/>
          </p:nvSpPr>
          <p:spPr>
            <a:xfrm>
              <a:off x="1991857" y="5512658"/>
              <a:ext cx="3923604" cy="846360"/>
            </a:xfrm>
            <a:custGeom>
              <a:avLst/>
              <a:gdLst>
                <a:gd name="connsiteX0" fmla="*/ 0 w 3923604"/>
                <a:gd name="connsiteY0" fmla="*/ 0 h 846360"/>
                <a:gd name="connsiteX1" fmla="*/ 3923604 w 3923604"/>
                <a:gd name="connsiteY1" fmla="*/ 0 h 846360"/>
                <a:gd name="connsiteX2" fmla="*/ 3923604 w 3923604"/>
                <a:gd name="connsiteY2" fmla="*/ 846360 h 846360"/>
                <a:gd name="connsiteX3" fmla="*/ 0 w 3923604"/>
                <a:gd name="connsiteY3" fmla="*/ 846360 h 846360"/>
                <a:gd name="connsiteX4" fmla="*/ 0 w 3923604"/>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3604" h="846360">
                  <a:moveTo>
                    <a:pt x="0" y="0"/>
                  </a:moveTo>
                  <a:lnTo>
                    <a:pt x="3923604" y="0"/>
                  </a:lnTo>
                  <a:lnTo>
                    <a:pt x="3923604"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a:t>Multi Factor Authentication</a:t>
              </a:r>
            </a:p>
          </p:txBody>
        </p:sp>
        <p:sp>
          <p:nvSpPr>
            <p:cNvPr id="26" name="Freeform 25"/>
            <p:cNvSpPr/>
            <p:nvPr/>
          </p:nvSpPr>
          <p:spPr>
            <a:xfrm>
              <a:off x="6470674" y="5512658"/>
              <a:ext cx="5205511" cy="846360"/>
            </a:xfrm>
            <a:custGeom>
              <a:avLst/>
              <a:gdLst>
                <a:gd name="connsiteX0" fmla="*/ 0 w 2776063"/>
                <a:gd name="connsiteY0" fmla="*/ 0 h 846360"/>
                <a:gd name="connsiteX1" fmla="*/ 2776063 w 2776063"/>
                <a:gd name="connsiteY1" fmla="*/ 0 h 846360"/>
                <a:gd name="connsiteX2" fmla="*/ 2776063 w 2776063"/>
                <a:gd name="connsiteY2" fmla="*/ 846360 h 846360"/>
                <a:gd name="connsiteX3" fmla="*/ 0 w 2776063"/>
                <a:gd name="connsiteY3" fmla="*/ 846360 h 846360"/>
                <a:gd name="connsiteX4" fmla="*/ 0 w 2776063"/>
                <a:gd name="connsiteY4" fmla="*/ 0 h 84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6063" h="846360">
                  <a:moveTo>
                    <a:pt x="0" y="0"/>
                  </a:moveTo>
                  <a:lnTo>
                    <a:pt x="2776063" y="0"/>
                  </a:lnTo>
                  <a:lnTo>
                    <a:pt x="2776063" y="846360"/>
                  </a:lnTo>
                  <a:lnTo>
                    <a:pt x="0" y="84636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0" tIns="8890" rIns="8890" bIns="8890" numCol="1" spcCol="1270" anchor="ctr" anchorCtr="0">
              <a:noAutofit/>
            </a:bodyPr>
            <a:lstStyle/>
            <a:p>
              <a:pPr lvl="0" algn="just" defTabSz="622300">
                <a:lnSpc>
                  <a:spcPct val="90000"/>
                </a:lnSpc>
                <a:spcBef>
                  <a:spcPct val="0"/>
                </a:spcBef>
                <a:spcAft>
                  <a:spcPct val="35000"/>
                </a:spcAft>
              </a:pPr>
              <a:r>
                <a:rPr lang="en-US" sz="1500" kern="1200"/>
                <a:t>Add security for your data and apps without adding hassles for users</a:t>
              </a:r>
              <a:endParaRPr lang="en-US" sz="1500" kern="1200" dirty="0"/>
            </a:p>
          </p:txBody>
        </p:sp>
      </p:grpSp>
    </p:spTree>
    <p:extLst>
      <p:ext uri="{BB962C8B-B14F-4D97-AF65-F5344CB8AC3E}">
        <p14:creationId xmlns:p14="http://schemas.microsoft.com/office/powerpoint/2010/main" val="25568362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327257"/>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Microsoft Azure Portal</a:t>
            </a:r>
          </a:p>
        </p:txBody>
      </p:sp>
      <p:sp>
        <p:nvSpPr>
          <p:cNvPr id="5" name="TextBox 4">
            <a:extLst>
              <a:ext uri="{FF2B5EF4-FFF2-40B4-BE49-F238E27FC236}">
                <a16:creationId xmlns:a16="http://schemas.microsoft.com/office/drawing/2014/main" id="{DE21B9F9-9725-409F-8A2A-AD1D32E00B20}"/>
              </a:ext>
            </a:extLst>
          </p:cNvPr>
          <p:cNvSpPr txBox="1"/>
          <p:nvPr/>
        </p:nvSpPr>
        <p:spPr>
          <a:xfrm>
            <a:off x="387934" y="1095723"/>
            <a:ext cx="11076479" cy="1125629"/>
          </a:xfrm>
          <a:prstGeom prst="rect">
            <a:avLst/>
          </a:prstGeom>
          <a:noFill/>
        </p:spPr>
        <p:txBody>
          <a:bodyPr wrap="square" rtlCol="0">
            <a:spAutoFit/>
          </a:bodyPr>
          <a:lstStyle/>
          <a:p>
            <a:pPr marL="342900" indent="-342900" algn="just">
              <a:lnSpc>
                <a:spcPct val="150000"/>
              </a:lnSpc>
              <a:buFont typeface="Arial" panose="020B0604020202020204" pitchFamily="34" charset="0"/>
              <a:buChar char="•"/>
            </a:pPr>
            <a:r>
              <a:rPr lang="en-US" sz="2400" dirty="0"/>
              <a:t>Azure portal helps us to view and manage all of your applications in one unified hub</a:t>
            </a:r>
          </a:p>
        </p:txBody>
      </p:sp>
      <p:sp>
        <p:nvSpPr>
          <p:cNvPr id="3" name="AutoShape 4" descr="Image result for Microsoft Azure">
            <a:extLst>
              <a:ext uri="{FF2B5EF4-FFF2-40B4-BE49-F238E27FC236}">
                <a16:creationId xmlns:a16="http://schemas.microsoft.com/office/drawing/2014/main" id="{22936C06-2E22-482B-9048-FF93A278CC2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 name="Picture 5">
            <a:extLst>
              <a:ext uri="{FF2B5EF4-FFF2-40B4-BE49-F238E27FC236}">
                <a16:creationId xmlns:a16="http://schemas.microsoft.com/office/drawing/2014/main" id="{EB55F36D-914F-4B28-87A9-680A0CCC2C26}"/>
              </a:ext>
            </a:extLst>
          </p:cNvPr>
          <p:cNvPicPr>
            <a:picLocks noChangeAspect="1"/>
          </p:cNvPicPr>
          <p:nvPr/>
        </p:nvPicPr>
        <p:blipFill>
          <a:blip r:embed="rId3"/>
          <a:stretch>
            <a:fillRect/>
          </a:stretch>
        </p:blipFill>
        <p:spPr>
          <a:xfrm>
            <a:off x="2305295" y="2405043"/>
            <a:ext cx="7276609" cy="3979065"/>
          </a:xfrm>
          <a:prstGeom prst="rect">
            <a:avLst/>
          </a:prstGeom>
        </p:spPr>
      </p:pic>
      <p:sp>
        <p:nvSpPr>
          <p:cNvPr id="2" name="TextBox 1"/>
          <p:cNvSpPr txBox="1"/>
          <p:nvPr/>
        </p:nvSpPr>
        <p:spPr>
          <a:xfrm>
            <a:off x="4698609" y="2030892"/>
            <a:ext cx="3671668" cy="646331"/>
          </a:xfrm>
          <a:prstGeom prst="rect">
            <a:avLst/>
          </a:prstGeom>
          <a:noFill/>
        </p:spPr>
        <p:txBody>
          <a:bodyPr wrap="square" rtlCol="0">
            <a:spAutoFit/>
          </a:bodyPr>
          <a:lstStyle/>
          <a:p>
            <a:r>
              <a:rPr lang="en-US" b="1" dirty="0">
                <a:solidFill>
                  <a:srgbClr val="0070AD"/>
                </a:solidFill>
                <a:cs typeface="Times New Roman" panose="02020603050405020304" pitchFamily="18" charset="0"/>
              </a:rPr>
              <a:t>portal.azure.com</a:t>
            </a:r>
          </a:p>
          <a:p>
            <a:endParaRPr lang="en-US" dirty="0"/>
          </a:p>
        </p:txBody>
      </p:sp>
    </p:spTree>
    <p:extLst>
      <p:ext uri="{BB962C8B-B14F-4D97-AF65-F5344CB8AC3E}">
        <p14:creationId xmlns:p14="http://schemas.microsoft.com/office/powerpoint/2010/main" val="382692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8BEE6C5-51FF-4682-8DD3-19FA460CD280}"/>
              </a:ext>
            </a:extLst>
          </p:cNvPr>
          <p:cNvSpPr txBox="1"/>
          <p:nvPr/>
        </p:nvSpPr>
        <p:spPr>
          <a:xfrm>
            <a:off x="587348" y="169941"/>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Accessing All the Services </a:t>
            </a:r>
          </a:p>
        </p:txBody>
      </p:sp>
      <p:pic>
        <p:nvPicPr>
          <p:cNvPr id="4" name="Picture 3">
            <a:extLst>
              <a:ext uri="{FF2B5EF4-FFF2-40B4-BE49-F238E27FC236}">
                <a16:creationId xmlns:a16="http://schemas.microsoft.com/office/drawing/2014/main" id="{8D98AF21-65E1-4D80-B925-39C41A4A68C2}"/>
              </a:ext>
            </a:extLst>
          </p:cNvPr>
          <p:cNvPicPr>
            <a:picLocks noChangeAspect="1"/>
          </p:cNvPicPr>
          <p:nvPr/>
        </p:nvPicPr>
        <p:blipFill>
          <a:blip r:embed="rId2"/>
          <a:stretch>
            <a:fillRect/>
          </a:stretch>
        </p:blipFill>
        <p:spPr>
          <a:xfrm>
            <a:off x="1027471" y="860936"/>
            <a:ext cx="10137058" cy="5702095"/>
          </a:xfrm>
          <a:prstGeom prst="rect">
            <a:avLst/>
          </a:prstGeom>
        </p:spPr>
      </p:pic>
    </p:spTree>
    <p:extLst>
      <p:ext uri="{BB962C8B-B14F-4D97-AF65-F5344CB8AC3E}">
        <p14:creationId xmlns:p14="http://schemas.microsoft.com/office/powerpoint/2010/main" val="3797939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8BEE6C5-51FF-4682-8DD3-19FA460CD280}"/>
              </a:ext>
            </a:extLst>
          </p:cNvPr>
          <p:cNvSpPr txBox="1"/>
          <p:nvPr/>
        </p:nvSpPr>
        <p:spPr>
          <a:xfrm>
            <a:off x="587348" y="169941"/>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Notification Icon</a:t>
            </a:r>
          </a:p>
        </p:txBody>
      </p:sp>
      <p:pic>
        <p:nvPicPr>
          <p:cNvPr id="2" name="Picture 1">
            <a:extLst>
              <a:ext uri="{FF2B5EF4-FFF2-40B4-BE49-F238E27FC236}">
                <a16:creationId xmlns:a16="http://schemas.microsoft.com/office/drawing/2014/main" id="{A5814DB2-8448-4FD5-9A8E-56DC173A1EBC}"/>
              </a:ext>
            </a:extLst>
          </p:cNvPr>
          <p:cNvPicPr>
            <a:picLocks noChangeAspect="1"/>
          </p:cNvPicPr>
          <p:nvPr/>
        </p:nvPicPr>
        <p:blipFill>
          <a:blip r:embed="rId2"/>
          <a:stretch>
            <a:fillRect/>
          </a:stretch>
        </p:blipFill>
        <p:spPr>
          <a:xfrm>
            <a:off x="983122" y="914400"/>
            <a:ext cx="9902177" cy="5569974"/>
          </a:xfrm>
          <a:prstGeom prst="rect">
            <a:avLst/>
          </a:prstGeom>
        </p:spPr>
      </p:pic>
    </p:spTree>
    <p:extLst>
      <p:ext uri="{BB962C8B-B14F-4D97-AF65-F5344CB8AC3E}">
        <p14:creationId xmlns:p14="http://schemas.microsoft.com/office/powerpoint/2010/main" val="15982545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8BEE6C5-51FF-4682-8DD3-19FA460CD280}"/>
              </a:ext>
            </a:extLst>
          </p:cNvPr>
          <p:cNvSpPr txBox="1"/>
          <p:nvPr/>
        </p:nvSpPr>
        <p:spPr>
          <a:xfrm>
            <a:off x="587348" y="169941"/>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Portal Settings</a:t>
            </a:r>
          </a:p>
        </p:txBody>
      </p:sp>
      <p:pic>
        <p:nvPicPr>
          <p:cNvPr id="4" name="Picture 3">
            <a:extLst>
              <a:ext uri="{FF2B5EF4-FFF2-40B4-BE49-F238E27FC236}">
                <a16:creationId xmlns:a16="http://schemas.microsoft.com/office/drawing/2014/main" id="{E105E7F5-56FB-4BF8-A6FC-1DEC0EB8F839}"/>
              </a:ext>
            </a:extLst>
          </p:cNvPr>
          <p:cNvPicPr>
            <a:picLocks noChangeAspect="1"/>
          </p:cNvPicPr>
          <p:nvPr/>
        </p:nvPicPr>
        <p:blipFill>
          <a:blip r:embed="rId2"/>
          <a:stretch>
            <a:fillRect/>
          </a:stretch>
        </p:blipFill>
        <p:spPr>
          <a:xfrm>
            <a:off x="855407" y="853562"/>
            <a:ext cx="10097730" cy="5679973"/>
          </a:xfrm>
          <a:prstGeom prst="rect">
            <a:avLst/>
          </a:prstGeom>
        </p:spPr>
      </p:pic>
    </p:spTree>
    <p:extLst>
      <p:ext uri="{BB962C8B-B14F-4D97-AF65-F5344CB8AC3E}">
        <p14:creationId xmlns:p14="http://schemas.microsoft.com/office/powerpoint/2010/main" val="345801056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8BEE6C5-51FF-4682-8DD3-19FA460CD280}"/>
              </a:ext>
            </a:extLst>
          </p:cNvPr>
          <p:cNvSpPr txBox="1"/>
          <p:nvPr/>
        </p:nvSpPr>
        <p:spPr>
          <a:xfrm>
            <a:off x="587348" y="169941"/>
            <a:ext cx="10365789"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Azure Search(resources, services, and docs)</a:t>
            </a:r>
          </a:p>
        </p:txBody>
      </p:sp>
      <p:pic>
        <p:nvPicPr>
          <p:cNvPr id="2" name="Picture 1">
            <a:extLst>
              <a:ext uri="{FF2B5EF4-FFF2-40B4-BE49-F238E27FC236}">
                <a16:creationId xmlns:a16="http://schemas.microsoft.com/office/drawing/2014/main" id="{5FB82F6C-71A2-481C-BE4D-CACF6EBF1F82}"/>
              </a:ext>
            </a:extLst>
          </p:cNvPr>
          <p:cNvPicPr>
            <a:picLocks noChangeAspect="1"/>
          </p:cNvPicPr>
          <p:nvPr/>
        </p:nvPicPr>
        <p:blipFill>
          <a:blip r:embed="rId2"/>
          <a:stretch>
            <a:fillRect/>
          </a:stretch>
        </p:blipFill>
        <p:spPr>
          <a:xfrm>
            <a:off x="1130708" y="1045290"/>
            <a:ext cx="9547123" cy="5370257"/>
          </a:xfrm>
          <a:prstGeom prst="rect">
            <a:avLst/>
          </a:prstGeom>
        </p:spPr>
      </p:pic>
    </p:spTree>
    <p:extLst>
      <p:ext uri="{BB962C8B-B14F-4D97-AF65-F5344CB8AC3E}">
        <p14:creationId xmlns:p14="http://schemas.microsoft.com/office/powerpoint/2010/main" val="17511783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0F14A1D-9D3B-4CCB-A53C-06A5E11E7605}"/>
              </a:ext>
            </a:extLst>
          </p:cNvPr>
          <p:cNvSpPr txBox="1"/>
          <p:nvPr/>
        </p:nvSpPr>
        <p:spPr>
          <a:xfrm>
            <a:off x="675837" y="91072"/>
            <a:ext cx="10365789"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Azure Portal Help</a:t>
            </a:r>
          </a:p>
        </p:txBody>
      </p:sp>
      <p:pic>
        <p:nvPicPr>
          <p:cNvPr id="4" name="Picture 3">
            <a:extLst>
              <a:ext uri="{FF2B5EF4-FFF2-40B4-BE49-F238E27FC236}">
                <a16:creationId xmlns:a16="http://schemas.microsoft.com/office/drawing/2014/main" id="{99BD93E2-A6A4-46E3-BBDF-AB7504D01EC4}"/>
              </a:ext>
            </a:extLst>
          </p:cNvPr>
          <p:cNvPicPr>
            <a:picLocks noChangeAspect="1"/>
          </p:cNvPicPr>
          <p:nvPr/>
        </p:nvPicPr>
        <p:blipFill>
          <a:blip r:embed="rId2"/>
          <a:stretch>
            <a:fillRect/>
          </a:stretch>
        </p:blipFill>
        <p:spPr>
          <a:xfrm>
            <a:off x="747252" y="926692"/>
            <a:ext cx="9792929" cy="5508522"/>
          </a:xfrm>
          <a:prstGeom prst="rect">
            <a:avLst/>
          </a:prstGeom>
        </p:spPr>
      </p:pic>
    </p:spTree>
    <p:extLst>
      <p:ext uri="{BB962C8B-B14F-4D97-AF65-F5344CB8AC3E}">
        <p14:creationId xmlns:p14="http://schemas.microsoft.com/office/powerpoint/2010/main" val="462996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0F14A1D-9D3B-4CCB-A53C-06A5E11E7605}"/>
              </a:ext>
            </a:extLst>
          </p:cNvPr>
          <p:cNvSpPr txBox="1"/>
          <p:nvPr/>
        </p:nvSpPr>
        <p:spPr>
          <a:xfrm>
            <a:off x="675837" y="91072"/>
            <a:ext cx="10365789"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Editing Azure Dashboard</a:t>
            </a:r>
          </a:p>
        </p:txBody>
      </p:sp>
      <p:pic>
        <p:nvPicPr>
          <p:cNvPr id="2" name="Picture 1">
            <a:extLst>
              <a:ext uri="{FF2B5EF4-FFF2-40B4-BE49-F238E27FC236}">
                <a16:creationId xmlns:a16="http://schemas.microsoft.com/office/drawing/2014/main" id="{ECCEDBF3-1DBD-4004-A933-4B09539664DD}"/>
              </a:ext>
            </a:extLst>
          </p:cNvPr>
          <p:cNvPicPr>
            <a:picLocks noChangeAspect="1"/>
          </p:cNvPicPr>
          <p:nvPr/>
        </p:nvPicPr>
        <p:blipFill>
          <a:blip r:embed="rId2"/>
          <a:stretch>
            <a:fillRect/>
          </a:stretch>
        </p:blipFill>
        <p:spPr>
          <a:xfrm>
            <a:off x="816078" y="933449"/>
            <a:ext cx="9763432" cy="5491931"/>
          </a:xfrm>
          <a:prstGeom prst="rect">
            <a:avLst/>
          </a:prstGeom>
        </p:spPr>
      </p:pic>
    </p:spTree>
    <p:extLst>
      <p:ext uri="{BB962C8B-B14F-4D97-AF65-F5344CB8AC3E}">
        <p14:creationId xmlns:p14="http://schemas.microsoft.com/office/powerpoint/2010/main" val="29572041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0F14A1D-9D3B-4CCB-A53C-06A5E11E7605}"/>
              </a:ext>
            </a:extLst>
          </p:cNvPr>
          <p:cNvSpPr txBox="1"/>
          <p:nvPr/>
        </p:nvSpPr>
        <p:spPr>
          <a:xfrm>
            <a:off x="675837" y="91072"/>
            <a:ext cx="10365789"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Azure Portal Navigation(Blades)</a:t>
            </a:r>
          </a:p>
        </p:txBody>
      </p:sp>
      <p:pic>
        <p:nvPicPr>
          <p:cNvPr id="4" name="Picture 3">
            <a:extLst>
              <a:ext uri="{FF2B5EF4-FFF2-40B4-BE49-F238E27FC236}">
                <a16:creationId xmlns:a16="http://schemas.microsoft.com/office/drawing/2014/main" id="{841ADC03-13AC-42C1-A2A7-9626B467C420}"/>
              </a:ext>
            </a:extLst>
          </p:cNvPr>
          <p:cNvPicPr>
            <a:picLocks noChangeAspect="1"/>
          </p:cNvPicPr>
          <p:nvPr/>
        </p:nvPicPr>
        <p:blipFill>
          <a:blip r:embed="rId2"/>
          <a:stretch>
            <a:fillRect/>
          </a:stretch>
        </p:blipFill>
        <p:spPr>
          <a:xfrm>
            <a:off x="816077" y="841272"/>
            <a:ext cx="9979742" cy="5613605"/>
          </a:xfrm>
          <a:prstGeom prst="rect">
            <a:avLst/>
          </a:prstGeom>
        </p:spPr>
      </p:pic>
    </p:spTree>
    <p:extLst>
      <p:ext uri="{BB962C8B-B14F-4D97-AF65-F5344CB8AC3E}">
        <p14:creationId xmlns:p14="http://schemas.microsoft.com/office/powerpoint/2010/main" val="32365850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894F1B1-8D22-4EC8-8297-1FC04D134482}"/>
              </a:ext>
            </a:extLst>
          </p:cNvPr>
          <p:cNvPicPr>
            <a:picLocks noChangeAspect="1"/>
          </p:cNvPicPr>
          <p:nvPr/>
        </p:nvPicPr>
        <p:blipFill>
          <a:blip r:embed="rId2"/>
          <a:stretch>
            <a:fillRect/>
          </a:stretch>
        </p:blipFill>
        <p:spPr>
          <a:xfrm>
            <a:off x="746160" y="796413"/>
            <a:ext cx="10059491" cy="5658464"/>
          </a:xfrm>
          <a:prstGeom prst="rect">
            <a:avLst/>
          </a:prstGeom>
        </p:spPr>
      </p:pic>
      <p:sp>
        <p:nvSpPr>
          <p:cNvPr id="3" name="TextBox 2">
            <a:extLst>
              <a:ext uri="{FF2B5EF4-FFF2-40B4-BE49-F238E27FC236}">
                <a16:creationId xmlns:a16="http://schemas.microsoft.com/office/drawing/2014/main" id="{F4EE4977-8F64-4A25-BA21-5651FBEF1EFA}"/>
              </a:ext>
            </a:extLst>
          </p:cNvPr>
          <p:cNvSpPr txBox="1"/>
          <p:nvPr/>
        </p:nvSpPr>
        <p:spPr>
          <a:xfrm>
            <a:off x="675837" y="91072"/>
            <a:ext cx="10365789"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Azure Marketplace</a:t>
            </a:r>
          </a:p>
        </p:txBody>
      </p:sp>
    </p:spTree>
    <p:extLst>
      <p:ext uri="{BB962C8B-B14F-4D97-AF65-F5344CB8AC3E}">
        <p14:creationId xmlns:p14="http://schemas.microsoft.com/office/powerpoint/2010/main" val="3498947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EC43AC6-7C18-4B2C-8230-6F3245C104C0}"/>
              </a:ext>
            </a:extLst>
          </p:cNvPr>
          <p:cNvSpPr txBox="1"/>
          <p:nvPr/>
        </p:nvSpPr>
        <p:spPr>
          <a:xfrm>
            <a:off x="577516" y="151776"/>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Azure Datacenters</a:t>
            </a:r>
          </a:p>
        </p:txBody>
      </p:sp>
      <p:pic>
        <p:nvPicPr>
          <p:cNvPr id="3" name="Picture 2">
            <a:extLst>
              <a:ext uri="{FF2B5EF4-FFF2-40B4-BE49-F238E27FC236}">
                <a16:creationId xmlns:a16="http://schemas.microsoft.com/office/drawing/2014/main" id="{0E304646-540C-4509-B705-F3D5D8F56E7D}"/>
              </a:ext>
            </a:extLst>
          </p:cNvPr>
          <p:cNvPicPr>
            <a:picLocks noChangeAspect="1"/>
          </p:cNvPicPr>
          <p:nvPr/>
        </p:nvPicPr>
        <p:blipFill>
          <a:blip r:embed="rId3"/>
          <a:stretch>
            <a:fillRect/>
          </a:stretch>
        </p:blipFill>
        <p:spPr>
          <a:xfrm>
            <a:off x="1013861" y="914516"/>
            <a:ext cx="10164278" cy="5522498"/>
          </a:xfrm>
          <a:prstGeom prst="rect">
            <a:avLst/>
          </a:prstGeom>
        </p:spPr>
      </p:pic>
      <p:sp>
        <p:nvSpPr>
          <p:cNvPr id="4" name="TextBox 3">
            <a:extLst>
              <a:ext uri="{FF2B5EF4-FFF2-40B4-BE49-F238E27FC236}">
                <a16:creationId xmlns:a16="http://schemas.microsoft.com/office/drawing/2014/main" id="{CEA11BE2-6C12-4E86-96B5-570D4D3701AA}"/>
              </a:ext>
            </a:extLst>
          </p:cNvPr>
          <p:cNvSpPr txBox="1"/>
          <p:nvPr/>
        </p:nvSpPr>
        <p:spPr>
          <a:xfrm>
            <a:off x="1013861" y="6408639"/>
            <a:ext cx="4029777" cy="369332"/>
          </a:xfrm>
          <a:prstGeom prst="rect">
            <a:avLst/>
          </a:prstGeom>
          <a:noFill/>
        </p:spPr>
        <p:txBody>
          <a:bodyPr wrap="square" rtlCol="0">
            <a:spAutoFit/>
          </a:bodyPr>
          <a:lstStyle/>
          <a:p>
            <a:r>
              <a:rPr lang="en-US" b="1" dirty="0"/>
              <a:t>Source</a:t>
            </a:r>
            <a:r>
              <a:rPr lang="en-US" dirty="0"/>
              <a:t>: azure.microsoft.com</a:t>
            </a:r>
          </a:p>
        </p:txBody>
      </p:sp>
    </p:spTree>
    <p:extLst>
      <p:ext uri="{BB962C8B-B14F-4D97-AF65-F5344CB8AC3E}">
        <p14:creationId xmlns:p14="http://schemas.microsoft.com/office/powerpoint/2010/main" val="283757987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E38CA8-771D-4431-B902-32F32A4E1B31}"/>
              </a:ext>
            </a:extLst>
          </p:cNvPr>
          <p:cNvPicPr>
            <a:picLocks noChangeAspect="1"/>
          </p:cNvPicPr>
          <p:nvPr/>
        </p:nvPicPr>
        <p:blipFill>
          <a:blip r:embed="rId2"/>
          <a:stretch>
            <a:fillRect/>
          </a:stretch>
        </p:blipFill>
        <p:spPr>
          <a:xfrm>
            <a:off x="1061883" y="820992"/>
            <a:ext cx="10068233" cy="5663381"/>
          </a:xfrm>
          <a:prstGeom prst="rect">
            <a:avLst/>
          </a:prstGeom>
        </p:spPr>
      </p:pic>
      <p:sp>
        <p:nvSpPr>
          <p:cNvPr id="3" name="TextBox 2">
            <a:extLst>
              <a:ext uri="{FF2B5EF4-FFF2-40B4-BE49-F238E27FC236}">
                <a16:creationId xmlns:a16="http://schemas.microsoft.com/office/drawing/2014/main" id="{C9C5805A-8672-4F7B-8DFD-98B545F818C0}"/>
              </a:ext>
            </a:extLst>
          </p:cNvPr>
          <p:cNvSpPr txBox="1"/>
          <p:nvPr/>
        </p:nvSpPr>
        <p:spPr>
          <a:xfrm>
            <a:off x="973393" y="91072"/>
            <a:ext cx="10068233"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Azure Subscription Details</a:t>
            </a:r>
          </a:p>
        </p:txBody>
      </p:sp>
    </p:spTree>
    <p:extLst>
      <p:ext uri="{BB962C8B-B14F-4D97-AF65-F5344CB8AC3E}">
        <p14:creationId xmlns:p14="http://schemas.microsoft.com/office/powerpoint/2010/main" val="194312416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482746" y="866567"/>
            <a:ext cx="11390580" cy="5388459"/>
          </a:xfrm>
          <a:prstGeom prst="rect">
            <a:avLst/>
          </a:prstGeom>
        </p:spPr>
      </p:pic>
      <p:sp>
        <p:nvSpPr>
          <p:cNvPr id="3" name="TextBox 2">
            <a:extLst>
              <a:ext uri="{FF2B5EF4-FFF2-40B4-BE49-F238E27FC236}">
                <a16:creationId xmlns:a16="http://schemas.microsoft.com/office/drawing/2014/main" id="{C9C5805A-8672-4F7B-8DFD-98B545F818C0}"/>
              </a:ext>
            </a:extLst>
          </p:cNvPr>
          <p:cNvSpPr txBox="1"/>
          <p:nvPr/>
        </p:nvSpPr>
        <p:spPr>
          <a:xfrm>
            <a:off x="482746" y="117577"/>
            <a:ext cx="10068233"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Azure Free Services</a:t>
            </a:r>
          </a:p>
        </p:txBody>
      </p:sp>
    </p:spTree>
    <p:extLst>
      <p:ext uri="{BB962C8B-B14F-4D97-AF65-F5344CB8AC3E}">
        <p14:creationId xmlns:p14="http://schemas.microsoft.com/office/powerpoint/2010/main" val="24725615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B2811B8-8606-4B73-8B16-336117B262C1}"/>
              </a:ext>
            </a:extLst>
          </p:cNvPr>
          <p:cNvSpPr txBox="1"/>
          <p:nvPr/>
        </p:nvSpPr>
        <p:spPr>
          <a:xfrm>
            <a:off x="577516" y="9345"/>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Azure Developer Tools</a:t>
            </a:r>
          </a:p>
        </p:txBody>
      </p:sp>
      <p:sp>
        <p:nvSpPr>
          <p:cNvPr id="5" name="TextBox 4">
            <a:extLst>
              <a:ext uri="{FF2B5EF4-FFF2-40B4-BE49-F238E27FC236}">
                <a16:creationId xmlns:a16="http://schemas.microsoft.com/office/drawing/2014/main" id="{DE21B9F9-9725-409F-8A2A-AD1D32E00B20}"/>
              </a:ext>
            </a:extLst>
          </p:cNvPr>
          <p:cNvSpPr txBox="1"/>
          <p:nvPr/>
        </p:nvSpPr>
        <p:spPr>
          <a:xfrm>
            <a:off x="343475" y="739753"/>
            <a:ext cx="11200250" cy="1494961"/>
          </a:xfrm>
          <a:prstGeom prst="rect">
            <a:avLst/>
          </a:prstGeom>
          <a:noFill/>
        </p:spPr>
        <p:txBody>
          <a:bodyPr wrap="square" rtlCol="0">
            <a:spAutoFit/>
          </a:bodyPr>
          <a:lstStyle/>
          <a:p>
            <a:pPr marL="342900" indent="-342900" algn="just">
              <a:lnSpc>
                <a:spcPct val="150000"/>
              </a:lnSpc>
              <a:buFont typeface="Arial" panose="020B0604020202020204" pitchFamily="34" charset="0"/>
              <a:buChar char="•"/>
            </a:pPr>
            <a:r>
              <a:rPr lang="en-US" sz="2000" dirty="0"/>
              <a:t>Although Azure portal is a great way to work with Azure resources, Microsoft offers a comprehensive set of development tools for any developer using any platform or language to deliver cloud applications</a:t>
            </a:r>
            <a:r>
              <a:rPr lang="en-US" sz="2400" dirty="0"/>
              <a:t>. </a:t>
            </a:r>
          </a:p>
        </p:txBody>
      </p:sp>
      <p:sp>
        <p:nvSpPr>
          <p:cNvPr id="3" name="AutoShape 4" descr="Image result for Microsoft Azure">
            <a:extLst>
              <a:ext uri="{FF2B5EF4-FFF2-40B4-BE49-F238E27FC236}">
                <a16:creationId xmlns:a16="http://schemas.microsoft.com/office/drawing/2014/main" id="{22936C06-2E22-482B-9048-FF93A278CC2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2" name="Table 1"/>
          <p:cNvGraphicFramePr>
            <a:graphicFrameLocks noGrp="1"/>
          </p:cNvGraphicFramePr>
          <p:nvPr>
            <p:extLst>
              <p:ext uri="{D42A27DB-BD31-4B8C-83A1-F6EECF244321}">
                <p14:modId xmlns:p14="http://schemas.microsoft.com/office/powerpoint/2010/main" val="2809118244"/>
              </p:ext>
            </p:extLst>
          </p:nvPr>
        </p:nvGraphicFramePr>
        <p:xfrm>
          <a:off x="711763" y="2380347"/>
          <a:ext cx="10768473" cy="3997960"/>
        </p:xfrm>
        <a:graphic>
          <a:graphicData uri="http://schemas.openxmlformats.org/drawingml/2006/table">
            <a:tbl>
              <a:tblPr firstRow="1" bandRow="1">
                <a:tableStyleId>{5C22544A-7EE6-4342-B048-85BDC9FD1C3A}</a:tableStyleId>
              </a:tblPr>
              <a:tblGrid>
                <a:gridCol w="2415750">
                  <a:extLst>
                    <a:ext uri="{9D8B030D-6E8A-4147-A177-3AD203B41FA5}">
                      <a16:colId xmlns:a16="http://schemas.microsoft.com/office/drawing/2014/main" val="20000"/>
                    </a:ext>
                  </a:extLst>
                </a:gridCol>
                <a:gridCol w="8352723">
                  <a:extLst>
                    <a:ext uri="{9D8B030D-6E8A-4147-A177-3AD203B41FA5}">
                      <a16:colId xmlns:a16="http://schemas.microsoft.com/office/drawing/2014/main" val="20001"/>
                    </a:ext>
                  </a:extLst>
                </a:gridCol>
              </a:tblGrid>
              <a:tr h="370840">
                <a:tc>
                  <a:txBody>
                    <a:bodyPr/>
                    <a:lstStyle/>
                    <a:p>
                      <a:pPr algn="ctr"/>
                      <a:r>
                        <a:rPr lang="en-US" dirty="0"/>
                        <a:t>Tool</a:t>
                      </a:r>
                    </a:p>
                  </a:txBody>
                  <a:tcPr/>
                </a:tc>
                <a:tc>
                  <a:txBody>
                    <a:bodyPr/>
                    <a:lstStyle/>
                    <a:p>
                      <a:pPr algn="ctr"/>
                      <a:r>
                        <a:rPr lang="en-US" dirty="0"/>
                        <a:t>Description</a:t>
                      </a:r>
                    </a:p>
                  </a:txBody>
                  <a:tcPr/>
                </a:tc>
                <a:extLst>
                  <a:ext uri="{0D108BD9-81ED-4DB2-BD59-A6C34878D82A}">
                    <a16:rowId xmlns:a16="http://schemas.microsoft.com/office/drawing/2014/main" val="10000"/>
                  </a:ext>
                </a:extLst>
              </a:tr>
              <a:tr h="370840">
                <a:tc>
                  <a:txBody>
                    <a:bodyPr/>
                    <a:lstStyle/>
                    <a:p>
                      <a:r>
                        <a:rPr lang="en-US" sz="1600" dirty="0"/>
                        <a:t>Visual Studio</a:t>
                      </a:r>
                    </a:p>
                  </a:txBody>
                  <a:tcPr/>
                </a:tc>
                <a:tc>
                  <a:txBody>
                    <a:bodyPr/>
                    <a:lstStyle/>
                    <a:p>
                      <a:r>
                        <a:rPr lang="en-US" sz="1600" dirty="0"/>
                        <a:t>Get all the power and capabilities you need to easily develop, debug, deploy, manage and diagnose cloud-scale applications on Azure, using a full-featured IDE</a:t>
                      </a:r>
                    </a:p>
                  </a:txBody>
                  <a:tcPr/>
                </a:tc>
                <a:extLst>
                  <a:ext uri="{0D108BD9-81ED-4DB2-BD59-A6C34878D82A}">
                    <a16:rowId xmlns:a16="http://schemas.microsoft.com/office/drawing/2014/main" val="10001"/>
                  </a:ext>
                </a:extLst>
              </a:tr>
              <a:tr h="370840">
                <a:tc>
                  <a:txBody>
                    <a:bodyPr/>
                    <a:lstStyle/>
                    <a:p>
                      <a:r>
                        <a:rPr lang="en-US" sz="1600" dirty="0"/>
                        <a:t>Visual</a:t>
                      </a:r>
                      <a:r>
                        <a:rPr lang="en-US" sz="1600" baseline="0" dirty="0"/>
                        <a:t> Studio Code</a:t>
                      </a:r>
                      <a:endParaRPr lang="en-US" sz="1600" dirty="0"/>
                    </a:p>
                  </a:txBody>
                  <a:tcPr/>
                </a:tc>
                <a:tc>
                  <a:txBody>
                    <a:bodyPr/>
                    <a:lstStyle/>
                    <a:p>
                      <a:pPr algn="just"/>
                      <a:r>
                        <a:rPr lang="en-US" sz="1600" dirty="0"/>
                        <a:t>Edit and debug code quickly with a lightweight code editor that runs on </a:t>
                      </a:r>
                      <a:r>
                        <a:rPr lang="en-US" sz="1600" dirty="0" err="1"/>
                        <a:t>macOS</a:t>
                      </a:r>
                      <a:r>
                        <a:rPr lang="en-US" sz="1600" dirty="0"/>
                        <a:t>, Linux and Window</a:t>
                      </a:r>
                      <a:r>
                        <a:rPr lang="en-US" sz="1600" baseline="0" dirty="0"/>
                        <a:t> </a:t>
                      </a:r>
                      <a:r>
                        <a:rPr lang="en-US" sz="1600" dirty="0"/>
                        <a:t>streamlined for building and deploying Node.js and Java apps to the cloud using </a:t>
                      </a:r>
                      <a:r>
                        <a:rPr lang="en-US" sz="1600" dirty="0" err="1"/>
                        <a:t>serverless</a:t>
                      </a:r>
                      <a:r>
                        <a:rPr lang="en-US" sz="1600" dirty="0"/>
                        <a:t> computing, containers or managed Web Apps</a:t>
                      </a:r>
                    </a:p>
                  </a:txBody>
                  <a:tcPr/>
                </a:tc>
                <a:extLst>
                  <a:ext uri="{0D108BD9-81ED-4DB2-BD59-A6C34878D82A}">
                    <a16:rowId xmlns:a16="http://schemas.microsoft.com/office/drawing/2014/main" val="10002"/>
                  </a:ext>
                </a:extLst>
              </a:tr>
              <a:tr h="370840">
                <a:tc>
                  <a:txBody>
                    <a:bodyPr/>
                    <a:lstStyle/>
                    <a:p>
                      <a:r>
                        <a:rPr lang="en-US" sz="1600" dirty="0"/>
                        <a:t>SDKs</a:t>
                      </a:r>
                    </a:p>
                  </a:txBody>
                  <a:tcPr/>
                </a:tc>
                <a:tc>
                  <a:txBody>
                    <a:bodyPr/>
                    <a:lstStyle/>
                    <a:p>
                      <a:pPr algn="just"/>
                      <a:r>
                        <a:rPr lang="en-US" sz="1600" dirty="0"/>
                        <a:t>Download and install language-specific SDKs and tools for your platform of choice, including .NET, Java, Node.js, Python and Go</a:t>
                      </a:r>
                    </a:p>
                  </a:txBody>
                  <a:tcPr/>
                </a:tc>
                <a:extLst>
                  <a:ext uri="{0D108BD9-81ED-4DB2-BD59-A6C34878D82A}">
                    <a16:rowId xmlns:a16="http://schemas.microsoft.com/office/drawing/2014/main" val="10003"/>
                  </a:ext>
                </a:extLst>
              </a:tr>
              <a:tr h="370840">
                <a:tc>
                  <a:txBody>
                    <a:bodyPr/>
                    <a:lstStyle/>
                    <a:p>
                      <a:r>
                        <a:rPr lang="en-US" sz="1600" dirty="0"/>
                        <a:t>CLIs</a:t>
                      </a:r>
                    </a:p>
                  </a:txBody>
                  <a:tcPr/>
                </a:tc>
                <a:tc>
                  <a:txBody>
                    <a:bodyPr/>
                    <a:lstStyle/>
                    <a:p>
                      <a:pPr algn="just"/>
                      <a:r>
                        <a:rPr lang="en-US" sz="1600" dirty="0"/>
                        <a:t>Use a Azure CLI / PowerShell command-line interface to create and manage services and automate everyday tasks in Azure</a:t>
                      </a:r>
                    </a:p>
                  </a:txBody>
                  <a:tcPr/>
                </a:tc>
                <a:extLst>
                  <a:ext uri="{0D108BD9-81ED-4DB2-BD59-A6C34878D82A}">
                    <a16:rowId xmlns:a16="http://schemas.microsoft.com/office/drawing/2014/main" val="10004"/>
                  </a:ext>
                </a:extLst>
              </a:tr>
              <a:tr h="370840">
                <a:tc>
                  <a:txBody>
                    <a:bodyPr/>
                    <a:lstStyle/>
                    <a:p>
                      <a:r>
                        <a:rPr lang="en-US" sz="1600" dirty="0"/>
                        <a:t>REST APIs</a:t>
                      </a:r>
                    </a:p>
                  </a:txBody>
                  <a:tcPr/>
                </a:tc>
                <a:tc>
                  <a:txBody>
                    <a:bodyPr/>
                    <a:lstStyle/>
                    <a:p>
                      <a:pPr algn="just"/>
                      <a:r>
                        <a:rPr lang="en-US" sz="1600" dirty="0"/>
                        <a:t>REST APIs allow us to interact with nearly every type of resource in Azure programmatically</a:t>
                      </a: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55585574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CB0D5D6-011B-4690-B31A-26FC90B35BF2}"/>
              </a:ext>
            </a:extLst>
          </p:cNvPr>
          <p:cNvSpPr txBox="1"/>
          <p:nvPr/>
        </p:nvSpPr>
        <p:spPr>
          <a:xfrm>
            <a:off x="597836" y="174857"/>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Summary</a:t>
            </a:r>
          </a:p>
        </p:txBody>
      </p:sp>
      <p:sp>
        <p:nvSpPr>
          <p:cNvPr id="5" name="TextBox 4">
            <a:extLst>
              <a:ext uri="{FF2B5EF4-FFF2-40B4-BE49-F238E27FC236}">
                <a16:creationId xmlns:a16="http://schemas.microsoft.com/office/drawing/2014/main" id="{1A7B3405-FD36-4BD3-9026-F7BC63663985}"/>
              </a:ext>
            </a:extLst>
          </p:cNvPr>
          <p:cNvSpPr txBox="1"/>
          <p:nvPr/>
        </p:nvSpPr>
        <p:spPr>
          <a:xfrm>
            <a:off x="362109" y="1137182"/>
            <a:ext cx="9656534" cy="5632311"/>
          </a:xfrm>
          <a:prstGeom prst="rect">
            <a:avLst/>
          </a:prstGeom>
          <a:noFill/>
        </p:spPr>
        <p:txBody>
          <a:bodyPr wrap="square" rtlCol="0">
            <a:spAutoFit/>
          </a:bodyPr>
          <a:lstStyle/>
          <a:p>
            <a:pPr marL="342900" indent="-342900" algn="just">
              <a:lnSpc>
                <a:spcPct val="150000"/>
              </a:lnSpc>
              <a:buFont typeface="Arial" panose="020B0604020202020204" pitchFamily="34" charset="0"/>
              <a:buChar char="•"/>
            </a:pPr>
            <a:r>
              <a:rPr lang="en-US" sz="2400" dirty="0"/>
              <a:t>Microsoft Azure is an open, flexible, enterprise-grade cloud computing platform</a:t>
            </a:r>
          </a:p>
          <a:p>
            <a:pPr marL="342900" indent="-342900" algn="just">
              <a:lnSpc>
                <a:spcPct val="150000"/>
              </a:lnSpc>
              <a:buFont typeface="Arial" panose="020B0604020202020204" pitchFamily="34" charset="0"/>
              <a:buChar char="•"/>
            </a:pPr>
            <a:r>
              <a:rPr lang="en-US" sz="2400" dirty="0"/>
              <a:t>Azure gives customers the flexibility to deploy applications where they need to, by providing more global regions than any other cloud provider</a:t>
            </a:r>
          </a:p>
          <a:p>
            <a:pPr marL="342900" indent="-342900" algn="just">
              <a:lnSpc>
                <a:spcPct val="150000"/>
              </a:lnSpc>
              <a:buFont typeface="Arial" panose="020B0604020202020204" pitchFamily="34" charset="0"/>
              <a:buChar char="•"/>
            </a:pPr>
            <a:r>
              <a:rPr lang="en-US" sz="2400" dirty="0"/>
              <a:t>Using Azure Portal you can view and manage all your applications in one unified hub and stay on top of the things that matter most by pinning them to your dashboard</a:t>
            </a:r>
          </a:p>
          <a:p>
            <a:pPr marL="342900" indent="-342900" algn="just">
              <a:lnSpc>
                <a:spcPct val="150000"/>
              </a:lnSpc>
              <a:buFont typeface="Arial" panose="020B0604020202020204" pitchFamily="34" charset="0"/>
              <a:buChar char="•"/>
            </a:pPr>
            <a:endParaRPr lang="en-US" sz="2400" dirty="0"/>
          </a:p>
        </p:txBody>
      </p:sp>
    </p:spTree>
    <p:extLst>
      <p:ext uri="{BB962C8B-B14F-4D97-AF65-F5344CB8AC3E}">
        <p14:creationId xmlns:p14="http://schemas.microsoft.com/office/powerpoint/2010/main" val="13449841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09593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EC43AC6-7C18-4B2C-8230-6F3245C104C0}"/>
              </a:ext>
            </a:extLst>
          </p:cNvPr>
          <p:cNvSpPr txBox="1"/>
          <p:nvPr/>
        </p:nvSpPr>
        <p:spPr>
          <a:xfrm>
            <a:off x="577516" y="100406"/>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Azure Data Centers</a:t>
            </a:r>
          </a:p>
        </p:txBody>
      </p:sp>
      <p:sp>
        <p:nvSpPr>
          <p:cNvPr id="4" name="TextBox 3"/>
          <p:cNvSpPr txBox="1"/>
          <p:nvPr/>
        </p:nvSpPr>
        <p:spPr>
          <a:xfrm>
            <a:off x="715617" y="1364974"/>
            <a:ext cx="10376453" cy="4371518"/>
          </a:xfrm>
          <a:prstGeom prst="rect">
            <a:avLst/>
          </a:prstGeom>
          <a:noFill/>
        </p:spPr>
        <p:txBody>
          <a:bodyPr wrap="square" rtlCol="0">
            <a:spAutoFit/>
          </a:bodyPr>
          <a:lstStyle/>
          <a:p>
            <a:pPr marL="0" marR="0">
              <a:lnSpc>
                <a:spcPct val="107000"/>
              </a:lnSpc>
              <a:spcBef>
                <a:spcPts val="0"/>
              </a:spcBef>
              <a:spcAft>
                <a:spcPts val="800"/>
              </a:spcAft>
            </a:pPr>
            <a:r>
              <a:rPr lang="en-US" sz="2800" b="0" i="0" dirty="0">
                <a:solidFill>
                  <a:srgbClr val="161616"/>
                </a:solidFill>
                <a:effectLst/>
                <a:latin typeface="Times New Roman" panose="02020603050405020304" pitchFamily="18" charset="0"/>
                <a:cs typeface="Times New Roman" panose="02020603050405020304" pitchFamily="18" charset="0"/>
              </a:rPr>
              <a:t>The core architectural components of Azure may be broken down into two main groupings: the physical infrastructure, and the management infrastructure.</a:t>
            </a:r>
          </a:p>
          <a:p>
            <a:pPr marL="0" marR="0">
              <a:lnSpc>
                <a:spcPct val="107000"/>
              </a:lnSpc>
              <a:spcBef>
                <a:spcPts val="0"/>
              </a:spcBef>
              <a:spcAft>
                <a:spcPts val="800"/>
              </a:spcAft>
            </a:pPr>
            <a:r>
              <a:rPr lang="en-US" sz="2800" b="0" i="0" dirty="0">
                <a:solidFill>
                  <a:srgbClr val="161616"/>
                </a:solidFill>
                <a:effectLst/>
                <a:latin typeface="Times New Roman" panose="02020603050405020304" pitchFamily="18" charset="0"/>
                <a:cs typeface="Times New Roman" panose="02020603050405020304" pitchFamily="18" charset="0"/>
              </a:rPr>
              <a:t>The physical infrastructure for Azure starts with datacenters.</a:t>
            </a:r>
          </a:p>
          <a:p>
            <a:pPr marL="0" marR="0">
              <a:lnSpc>
                <a:spcPct val="107000"/>
              </a:lnSpc>
              <a:spcBef>
                <a:spcPts val="0"/>
              </a:spcBef>
              <a:spcAft>
                <a:spcPts val="800"/>
              </a:spcAft>
            </a:pPr>
            <a:r>
              <a:rPr lang="en-US" sz="2800" b="0" i="0" dirty="0">
                <a:solidFill>
                  <a:srgbClr val="161616"/>
                </a:solidFill>
                <a:effectLst/>
                <a:latin typeface="Times New Roman" panose="02020603050405020304" pitchFamily="18" charset="0"/>
                <a:cs typeface="Times New Roman" panose="02020603050405020304" pitchFamily="18" charset="0"/>
              </a:rPr>
              <a:t>As a global cloud provider, Azure has datacenters around the world. However, these individual datacenters aren’t directly accessible. Datacenters are grouped into Azure Regions or Azure Availability Zones</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3781110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EC43AC6-7C18-4B2C-8230-6F3245C104C0}"/>
              </a:ext>
            </a:extLst>
          </p:cNvPr>
          <p:cNvSpPr txBox="1"/>
          <p:nvPr/>
        </p:nvSpPr>
        <p:spPr>
          <a:xfrm>
            <a:off x="577516" y="100406"/>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Azure Data Centers</a:t>
            </a:r>
          </a:p>
        </p:txBody>
      </p:sp>
      <p:sp>
        <p:nvSpPr>
          <p:cNvPr id="4" name="TextBox 3"/>
          <p:cNvSpPr txBox="1"/>
          <p:nvPr/>
        </p:nvSpPr>
        <p:spPr>
          <a:xfrm>
            <a:off x="715617" y="1364974"/>
            <a:ext cx="10376453" cy="4843827"/>
          </a:xfrm>
          <a:prstGeom prst="rect">
            <a:avLst/>
          </a:prstGeom>
          <a:noFill/>
        </p:spPr>
        <p:txBody>
          <a:bodyPr wrap="square" rtlCol="0">
            <a:spAutoFit/>
          </a:bodyPr>
          <a:lstStyle/>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Region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 region is a set of datacenters deployed within a latency-defined perimeter and connected through a dedicated regional low-latency network.</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With more global regions than any other cloud provider, Azure gives customers the flexibility to deploy applications where they need to.</a:t>
            </a: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Geographi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 geography is a discrete market, typically containing two or more regions, that preserves data residency and compliance boundaries. Geographies allow customers with specific data-residency and compliance needs to keep their data and applications close. Geographies are fault-tolerant to withstand complete region failure through their connection to our dedicated high-capacity networking infrastructure.</a:t>
            </a: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Availability Zon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vailability Zones are physically separate locations within an Azure region. Each Availability Zone is made up of one or more datacenters equipped with independent power, cooling, and networking. Availability Zones allow customers to run mission-critical applications with high availability and low-latency replication</a:t>
            </a:r>
          </a:p>
        </p:txBody>
      </p:sp>
    </p:spTree>
    <p:extLst>
      <p:ext uri="{BB962C8B-B14F-4D97-AF65-F5344CB8AC3E}">
        <p14:creationId xmlns:p14="http://schemas.microsoft.com/office/powerpoint/2010/main" val="36942704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EC43AC6-7C18-4B2C-8230-6F3245C104C0}"/>
              </a:ext>
            </a:extLst>
          </p:cNvPr>
          <p:cNvSpPr txBox="1"/>
          <p:nvPr/>
        </p:nvSpPr>
        <p:spPr>
          <a:xfrm>
            <a:off x="1132321" y="341401"/>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Availability Zone</a:t>
            </a:r>
          </a:p>
        </p:txBody>
      </p:sp>
      <p:sp>
        <p:nvSpPr>
          <p:cNvPr id="4" name="TextBox 3"/>
          <p:cNvSpPr txBox="1"/>
          <p:nvPr/>
        </p:nvSpPr>
        <p:spPr>
          <a:xfrm>
            <a:off x="715617" y="1364974"/>
            <a:ext cx="10376453" cy="1200329"/>
          </a:xfrm>
          <a:prstGeom prst="rect">
            <a:avLst/>
          </a:prstGeom>
          <a:noFill/>
        </p:spPr>
        <p:txBody>
          <a:bodyPr wrap="square" rtlCol="0">
            <a:spAutoFit/>
          </a:bodyPr>
          <a:lstStyle/>
          <a:p>
            <a:pPr marL="342900" indent="-342900" algn="just">
              <a:buFont typeface="Arial" panose="020B0604020202020204" pitchFamily="34" charset="0"/>
              <a:buChar char="•"/>
            </a:pPr>
            <a:r>
              <a:rPr lang="en-US" sz="2400" b="0" i="0" dirty="0">
                <a:solidFill>
                  <a:srgbClr val="161616"/>
                </a:solidFill>
                <a:effectLst/>
                <a:latin typeface="Segoe UI" panose="020B0502040204020203" pitchFamily="34" charset="0"/>
              </a:rPr>
              <a:t>An availability zone is set up to be an isolation boundary. If one zone goes down, the other continues working. Availability zones are connected through high-speed, private fiber-optic networks.</a:t>
            </a:r>
            <a:endParaRPr lang="en-US" sz="2400" dirty="0"/>
          </a:p>
        </p:txBody>
      </p:sp>
      <p:pic>
        <p:nvPicPr>
          <p:cNvPr id="1026" name="Picture 2" descr="Diagram showing three datacenters connected in a single Azure region representing an availability zone.">
            <a:extLst>
              <a:ext uri="{FF2B5EF4-FFF2-40B4-BE49-F238E27FC236}">
                <a16:creationId xmlns:a16="http://schemas.microsoft.com/office/drawing/2014/main" id="{71766BF5-5BC3-1D74-F1E4-9D4517553A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54809" y="2858124"/>
            <a:ext cx="3848100" cy="3848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67512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EC43AC6-7C18-4B2C-8230-6F3245C104C0}"/>
              </a:ext>
            </a:extLst>
          </p:cNvPr>
          <p:cNvSpPr txBox="1"/>
          <p:nvPr/>
        </p:nvSpPr>
        <p:spPr>
          <a:xfrm>
            <a:off x="1132321" y="341401"/>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Availability Sets</a:t>
            </a:r>
          </a:p>
        </p:txBody>
      </p:sp>
      <p:sp>
        <p:nvSpPr>
          <p:cNvPr id="4" name="TextBox 3"/>
          <p:cNvSpPr txBox="1"/>
          <p:nvPr/>
        </p:nvSpPr>
        <p:spPr>
          <a:xfrm>
            <a:off x="715617" y="1364974"/>
            <a:ext cx="10376453" cy="4893647"/>
          </a:xfrm>
          <a:prstGeom prst="rect">
            <a:avLst/>
          </a:prstGeom>
          <a:noFill/>
        </p:spPr>
        <p:txBody>
          <a:bodyPr wrap="square" rtlCol="0">
            <a:spAutoFit/>
          </a:bodyPr>
          <a:lstStyle/>
          <a:p>
            <a:pPr marL="342900" indent="-342900" algn="just">
              <a:buFont typeface="Arial" panose="020B0604020202020204" pitchFamily="34" charset="0"/>
              <a:buChar char="•"/>
            </a:pPr>
            <a:r>
              <a:rPr lang="en-US" sz="2400" b="0" i="0" dirty="0">
                <a:solidFill>
                  <a:srgbClr val="000000"/>
                </a:solidFill>
                <a:effectLst/>
                <a:latin typeface="Noto Sans JP"/>
              </a:rPr>
              <a:t>An Availability Set is a logical grouping capability for isolating VM resources from each other when they’re deployed.</a:t>
            </a:r>
          </a:p>
          <a:p>
            <a:pPr marL="342900" indent="-342900" algn="just">
              <a:buFont typeface="Arial" panose="020B0604020202020204" pitchFamily="34" charset="0"/>
              <a:buChar char="•"/>
            </a:pPr>
            <a:r>
              <a:rPr lang="en-US" sz="2400" b="0" i="0" dirty="0">
                <a:solidFill>
                  <a:srgbClr val="4A4A4A"/>
                </a:solidFill>
                <a:effectLst/>
                <a:latin typeface="Helvetica Neue LT W1G"/>
              </a:rPr>
              <a:t>When you deploy new virtual machines (VMs), Azure, by default, does not possess the necessary information to identify dependencies among them. </a:t>
            </a:r>
          </a:p>
          <a:p>
            <a:pPr marL="342900" indent="-342900" algn="just">
              <a:buFont typeface="Arial" panose="020B0604020202020204" pitchFamily="34" charset="0"/>
              <a:buChar char="•"/>
            </a:pPr>
            <a:r>
              <a:rPr lang="en-US" sz="2400" b="0" i="0" dirty="0">
                <a:solidFill>
                  <a:srgbClr val="4A4A4A"/>
                </a:solidFill>
                <a:effectLst/>
                <a:latin typeface="Helvetica Neue LT W1G"/>
              </a:rPr>
              <a:t>Hence, this may lead to a single point of failure in the hosted service due to an unexpected hardware fault or a maintenance operation.</a:t>
            </a:r>
          </a:p>
          <a:p>
            <a:pPr marL="342900" indent="-342900" algn="just">
              <a:buFont typeface="Arial" panose="020B0604020202020204" pitchFamily="34" charset="0"/>
              <a:buChar char="•"/>
            </a:pPr>
            <a:r>
              <a:rPr lang="en-US" sz="2400" b="0" i="0" dirty="0">
                <a:solidFill>
                  <a:srgbClr val="4A4A4A"/>
                </a:solidFill>
                <a:effectLst/>
                <a:latin typeface="Helvetica Neue LT W1G"/>
              </a:rPr>
              <a:t>It guarantees that the VMs included in the same group are isolated from each other. </a:t>
            </a:r>
          </a:p>
          <a:p>
            <a:pPr marL="342900" indent="-342900" algn="just">
              <a:buFont typeface="Arial" panose="020B0604020202020204" pitchFamily="34" charset="0"/>
              <a:buChar char="•"/>
            </a:pPr>
            <a:r>
              <a:rPr lang="en-US" sz="2400" b="0" i="0" dirty="0">
                <a:solidFill>
                  <a:srgbClr val="4A4A4A"/>
                </a:solidFill>
                <a:effectLst/>
                <a:latin typeface="Helvetica Neue LT W1G"/>
              </a:rPr>
              <a:t>Availability Sets are based on two logical groupings: </a:t>
            </a:r>
          </a:p>
          <a:p>
            <a:pPr marL="342900" indent="-342900" algn="just">
              <a:buFont typeface="Arial" panose="020B0604020202020204" pitchFamily="34" charset="0"/>
              <a:buChar char="•"/>
            </a:pPr>
            <a:r>
              <a:rPr lang="en-US" sz="2400" b="0" i="0" u="none" strike="noStrike" dirty="0">
                <a:solidFill>
                  <a:srgbClr val="0099FF"/>
                </a:solidFill>
                <a:effectLst/>
                <a:latin typeface="Helvetica Neue LT W1G"/>
                <a:hlinkClick r:id="rId2"/>
              </a:rPr>
              <a:t>fault domains and update domains</a:t>
            </a:r>
            <a:r>
              <a:rPr lang="en-US" sz="2400" b="0" i="0" dirty="0">
                <a:solidFill>
                  <a:srgbClr val="4A4A4A"/>
                </a:solidFill>
                <a:effectLst/>
                <a:latin typeface="Helvetica Neue LT W1G"/>
              </a:rPr>
              <a:t>.</a:t>
            </a:r>
          </a:p>
          <a:p>
            <a:endParaRPr lang="en-US" sz="2400" b="0" i="0" dirty="0">
              <a:solidFill>
                <a:srgbClr val="000000"/>
              </a:solidFill>
              <a:effectLst/>
              <a:latin typeface="Noto Sans JP"/>
            </a:endParaRPr>
          </a:p>
          <a:p>
            <a:pPr marL="342900" indent="-342900" algn="just">
              <a:buFont typeface="Arial" panose="020B0604020202020204" pitchFamily="34" charset="0"/>
              <a:buChar char="•"/>
            </a:pPr>
            <a:r>
              <a:rPr lang="en-US" sz="2400" b="0" i="0" dirty="0">
                <a:solidFill>
                  <a:srgbClr val="000000"/>
                </a:solidFill>
                <a:effectLst/>
                <a:latin typeface="Noto Sans JP"/>
              </a:rPr>
              <a:t>Microsoft gives 99.95% SLA if you deployed your VMs in Availability Set.</a:t>
            </a:r>
            <a:r>
              <a:rPr lang="en-US" sz="2400" b="0" i="0" dirty="0">
                <a:solidFill>
                  <a:srgbClr val="161616"/>
                </a:solidFill>
                <a:effectLst/>
                <a:latin typeface="Segoe UI" panose="020B0502040204020203" pitchFamily="34" charset="0"/>
              </a:rPr>
              <a:t>.</a:t>
            </a:r>
            <a:endParaRPr lang="en-US" sz="2400" dirty="0"/>
          </a:p>
        </p:txBody>
      </p:sp>
    </p:spTree>
    <p:extLst>
      <p:ext uri="{BB962C8B-B14F-4D97-AF65-F5344CB8AC3E}">
        <p14:creationId xmlns:p14="http://schemas.microsoft.com/office/powerpoint/2010/main" val="28812697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EC43AC6-7C18-4B2C-8230-6F3245C104C0}"/>
              </a:ext>
            </a:extLst>
          </p:cNvPr>
          <p:cNvSpPr txBox="1"/>
          <p:nvPr/>
        </p:nvSpPr>
        <p:spPr>
          <a:xfrm>
            <a:off x="1132321" y="341401"/>
            <a:ext cx="8681987" cy="584775"/>
          </a:xfrm>
          <a:prstGeom prst="rect">
            <a:avLst/>
          </a:prstGeom>
          <a:noFill/>
        </p:spPr>
        <p:txBody>
          <a:bodyPr wrap="square" rtlCol="0">
            <a:spAutoFit/>
          </a:bodyPr>
          <a:lstStyle/>
          <a:p>
            <a:r>
              <a:rPr lang="en-US" sz="3200" b="1" dirty="0">
                <a:solidFill>
                  <a:srgbClr val="0070AD"/>
                </a:solidFill>
                <a:latin typeface="+mj-lt"/>
                <a:cs typeface="Times New Roman" panose="02020603050405020304" pitchFamily="18" charset="0"/>
              </a:rPr>
              <a:t>Availability Sets</a:t>
            </a:r>
          </a:p>
        </p:txBody>
      </p:sp>
      <p:sp>
        <p:nvSpPr>
          <p:cNvPr id="4" name="TextBox 3"/>
          <p:cNvSpPr txBox="1"/>
          <p:nvPr/>
        </p:nvSpPr>
        <p:spPr>
          <a:xfrm>
            <a:off x="715617" y="1364974"/>
            <a:ext cx="10503763" cy="3046988"/>
          </a:xfrm>
          <a:prstGeom prst="rect">
            <a:avLst/>
          </a:prstGeom>
          <a:noFill/>
        </p:spPr>
        <p:txBody>
          <a:bodyPr wrap="square" rtlCol="0">
            <a:spAutoFit/>
          </a:bodyPr>
          <a:lstStyle/>
          <a:p>
            <a:pPr marL="342900" indent="-342900" algn="just">
              <a:buFont typeface="Arial" panose="020B0604020202020204" pitchFamily="34" charset="0"/>
              <a:buChar char="•"/>
            </a:pPr>
            <a:r>
              <a:rPr lang="en-US" sz="2400" b="0" i="0" dirty="0">
                <a:solidFill>
                  <a:srgbClr val="4A4A4A"/>
                </a:solidFill>
                <a:effectLst/>
                <a:latin typeface="Helvetica Neue LT W1G"/>
              </a:rPr>
              <a:t>Availability Sets are based on two logical groupings: </a:t>
            </a:r>
          </a:p>
          <a:p>
            <a:pPr algn="just"/>
            <a:endParaRPr lang="en-US" sz="2400" b="0" i="0" u="none" strike="noStrike" dirty="0">
              <a:solidFill>
                <a:srgbClr val="0099FF"/>
              </a:solidFill>
              <a:effectLst/>
              <a:latin typeface="Helvetica Neue LT W1G"/>
            </a:endParaRPr>
          </a:p>
          <a:p>
            <a:pPr algn="just"/>
            <a:r>
              <a:rPr lang="en-US" sz="2400" dirty="0">
                <a:solidFill>
                  <a:srgbClr val="0099FF"/>
                </a:solidFill>
                <a:latin typeface="Helvetica Neue LT W1G"/>
              </a:rPr>
              <a:t>    </a:t>
            </a:r>
            <a:r>
              <a:rPr lang="en-US" sz="2400" b="0" i="0" u="none" strike="noStrike" dirty="0">
                <a:solidFill>
                  <a:srgbClr val="0099FF"/>
                </a:solidFill>
                <a:effectLst/>
                <a:latin typeface="Helvetica Neue LT W1G"/>
              </a:rPr>
              <a:t>fault domains and update domains</a:t>
            </a:r>
            <a:r>
              <a:rPr lang="en-US" sz="2400" b="0" i="0" dirty="0">
                <a:solidFill>
                  <a:srgbClr val="4A4A4A"/>
                </a:solidFill>
                <a:effectLst/>
                <a:latin typeface="Helvetica Neue LT W1G"/>
              </a:rPr>
              <a:t>.</a:t>
            </a:r>
          </a:p>
          <a:p>
            <a:pPr algn="just"/>
            <a:endParaRPr lang="en-US" sz="2400" dirty="0">
              <a:solidFill>
                <a:srgbClr val="4A4A4A"/>
              </a:solidFill>
              <a:latin typeface="Helvetica Neue LT W1G"/>
            </a:endParaRPr>
          </a:p>
          <a:p>
            <a:pPr marL="342900" indent="-342900" algn="just">
              <a:buFont typeface="Arial" panose="020B0604020202020204" pitchFamily="34" charset="0"/>
              <a:buChar char="•"/>
            </a:pPr>
            <a:r>
              <a:rPr lang="en-US" sz="2400" b="0" i="0" dirty="0">
                <a:solidFill>
                  <a:srgbClr val="4A4A4A"/>
                </a:solidFill>
                <a:effectLst/>
                <a:latin typeface="Helvetica Neue LT W1G"/>
              </a:rPr>
              <a:t> The best practice is to create one Availability Set per workload(as a set of servers that work together running the same service</a:t>
            </a:r>
          </a:p>
          <a:p>
            <a:endParaRPr lang="en-US" sz="2400" b="0" i="0" dirty="0">
              <a:solidFill>
                <a:srgbClr val="000000"/>
              </a:solidFill>
              <a:effectLst/>
              <a:latin typeface="Noto Sans JP"/>
            </a:endParaRPr>
          </a:p>
          <a:p>
            <a:pPr marL="342900" indent="-342900" algn="just">
              <a:buFont typeface="Arial" panose="020B0604020202020204" pitchFamily="34" charset="0"/>
              <a:buChar char="•"/>
            </a:pPr>
            <a:r>
              <a:rPr lang="en-US" sz="2400" b="0" i="0" dirty="0">
                <a:solidFill>
                  <a:srgbClr val="000000"/>
                </a:solidFill>
                <a:effectLst/>
                <a:latin typeface="Noto Sans JP"/>
              </a:rPr>
              <a:t>Microsoft gives 99.95% SLA if you deployed your VMs in Availability Set.</a:t>
            </a:r>
            <a:r>
              <a:rPr lang="en-US" sz="2400" b="0" i="0" dirty="0">
                <a:solidFill>
                  <a:srgbClr val="161616"/>
                </a:solidFill>
                <a:effectLst/>
                <a:latin typeface="Segoe UI" panose="020B0502040204020203" pitchFamily="34" charset="0"/>
              </a:rPr>
              <a:t>.</a:t>
            </a:r>
            <a:endParaRPr lang="en-US" sz="2400" dirty="0"/>
          </a:p>
        </p:txBody>
      </p:sp>
    </p:spTree>
    <p:extLst>
      <p:ext uri="{BB962C8B-B14F-4D97-AF65-F5344CB8AC3E}">
        <p14:creationId xmlns:p14="http://schemas.microsoft.com/office/powerpoint/2010/main" val="32815046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9DA1ADED5C8094F9464E5F83AB3D4E4" ma:contentTypeVersion="3" ma:contentTypeDescription="Create a new document." ma:contentTypeScope="" ma:versionID="70052fd78b55228aad03437b0990c281">
  <xsd:schema xmlns:xsd="http://www.w3.org/2001/XMLSchema" xmlns:xs="http://www.w3.org/2001/XMLSchema" xmlns:p="http://schemas.microsoft.com/office/2006/metadata/properties" xmlns:ns2="4e343575-744d-4670-b6c2-8bfba662587c" targetNamespace="http://schemas.microsoft.com/office/2006/metadata/properties" ma:root="true" ma:fieldsID="c42dccffe80b99f7964aab1d1d39e743" ns2:_="">
    <xsd:import namespace="4e343575-744d-4670-b6c2-8bfba662587c"/>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e343575-744d-4670-b6c2-8bfba662587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CA14DEB-3967-4055-87F4-D028DD4269B4}">
  <ds:schemaRefs>
    <ds:schemaRef ds:uri="http://schemas.microsoft.com/office/2006/metadata/properties"/>
    <ds:schemaRef ds:uri="http://schemas.microsoft.com/office/infopath/2007/PartnerControls"/>
    <ds:schemaRef ds:uri="ff9673e2-8703-4f54-a1af-e608932f257d"/>
    <ds:schemaRef ds:uri="1253dd47-851c-4098-91d7-cf3a38efb584"/>
  </ds:schemaRefs>
</ds:datastoreItem>
</file>

<file path=customXml/itemProps2.xml><?xml version="1.0" encoding="utf-8"?>
<ds:datastoreItem xmlns:ds="http://schemas.openxmlformats.org/officeDocument/2006/customXml" ds:itemID="{3B0B4A98-F513-41BB-9581-BEAC00BACCFF}"/>
</file>

<file path=customXml/itemProps3.xml><?xml version="1.0" encoding="utf-8"?>
<ds:datastoreItem xmlns:ds="http://schemas.openxmlformats.org/officeDocument/2006/customXml" ds:itemID="{8F572E5D-8290-49CE-B193-E4BC9390D42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4150</TotalTime>
  <Words>2574</Words>
  <Application>Microsoft Office PowerPoint</Application>
  <PresentationFormat>Widescreen</PresentationFormat>
  <Paragraphs>278</Paragraphs>
  <Slides>44</Slides>
  <Notes>18</Notes>
  <HiddenSlides>0</HiddenSlides>
  <MMClips>0</MMClips>
  <ScaleCrop>false</ScaleCrop>
  <HeadingPairs>
    <vt:vector size="6" baseType="variant">
      <vt:variant>
        <vt:lpstr>Fonts Used</vt:lpstr>
      </vt:variant>
      <vt:variant>
        <vt:i4>9</vt:i4>
      </vt:variant>
      <vt:variant>
        <vt:lpstr>Theme</vt:lpstr>
      </vt:variant>
      <vt:variant>
        <vt:i4>4</vt:i4>
      </vt:variant>
      <vt:variant>
        <vt:lpstr>Slide Titles</vt:lpstr>
      </vt:variant>
      <vt:variant>
        <vt:i4>44</vt:i4>
      </vt:variant>
    </vt:vector>
  </HeadingPairs>
  <TitlesOfParts>
    <vt:vector size="57" baseType="lpstr">
      <vt:lpstr>Arial</vt:lpstr>
      <vt:lpstr>Calibri</vt:lpstr>
      <vt:lpstr>Helvetica Neue LT W1G</vt:lpstr>
      <vt:lpstr>Noto Sans JP</vt:lpstr>
      <vt:lpstr>Poppins</vt:lpstr>
      <vt:lpstr>Segoe UI</vt:lpstr>
      <vt:lpstr>Times New Roman</vt:lpstr>
      <vt:lpstr>Verdana</vt:lpstr>
      <vt:lpstr>Wingdings</vt:lpstr>
      <vt:lpstr>Capgemini 2017_Cover slides</vt:lpstr>
      <vt:lpstr>Section slides</vt:lpstr>
      <vt:lpstr>Content Layouts</vt:lpstr>
      <vt:lpstr>Content and Image Layou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Fundamentals</dc:title>
  <dc:subject>Azure Fundamentals by Karthik M</dc:subject>
  <dc:creator>Karthik Muthukrishnan</dc:creator>
  <cp:keywords>Azure</cp:keywords>
  <dc:description>Azure Fundamentals by Karthik Muthukrishnan</dc:description>
  <cp:lastModifiedBy>Chaudhari, Rekha Prashant</cp:lastModifiedBy>
  <cp:revision>400</cp:revision>
  <cp:lastPrinted>2018-04-10T18:24:46Z</cp:lastPrinted>
  <dcterms:created xsi:type="dcterms:W3CDTF">2017-12-21T09:22:13Z</dcterms:created>
  <dcterms:modified xsi:type="dcterms:W3CDTF">2023-06-15T10:08:31Z</dcterms:modified>
  <cp:category>Azure-Classbook</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9DA1ADED5C8094F9464E5F83AB3D4E4</vt:lpwstr>
  </property>
</Properties>
</file>